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"/>
  </p:notesMasterIdLst>
  <p:sldIdLst>
    <p:sldId id="256" r:id="rId3"/>
    <p:sldId id="274" r:id="rId5"/>
    <p:sldId id="258" r:id="rId6"/>
    <p:sldId id="277" r:id="rId7"/>
    <p:sldId id="301" r:id="rId8"/>
    <p:sldId id="282" r:id="rId9"/>
    <p:sldId id="304" r:id="rId10"/>
    <p:sldId id="302" r:id="rId11"/>
    <p:sldId id="316" r:id="rId12"/>
    <p:sldId id="319" r:id="rId13"/>
    <p:sldId id="317" r:id="rId14"/>
    <p:sldId id="322" r:id="rId15"/>
    <p:sldId id="314" r:id="rId16"/>
    <p:sldId id="293" r:id="rId17"/>
    <p:sldId id="320" r:id="rId18"/>
    <p:sldId id="323" r:id="rId19"/>
    <p:sldId id="324" r:id="rId20"/>
    <p:sldId id="261" r:id="rId21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A895206E-EDAD-4CB6-A2E7-AEE049C0C500}">
          <p14:sldIdLst>
            <p14:sldId id="256"/>
            <p14:sldId id="274"/>
            <p14:sldId id="258"/>
            <p14:sldId id="277"/>
            <p14:sldId id="301"/>
            <p14:sldId id="282"/>
            <p14:sldId id="304"/>
            <p14:sldId id="302"/>
            <p14:sldId id="316"/>
            <p14:sldId id="319"/>
            <p14:sldId id="317"/>
            <p14:sldId id="314"/>
            <p14:sldId id="293"/>
            <p14:sldId id="320"/>
            <p14:sldId id="323"/>
            <p14:sldId id="324"/>
            <p14:sldId id="322"/>
          </p14:sldIdLst>
        </p14:section>
        <p14:section name="无标题节" id="{3ADD3573-F01D-4B80-8F4E-590BE97C8023}">
          <p14:sldIdLst>
            <p14:sldId id="26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D1FC"/>
    <a:srgbClr val="4582E6"/>
    <a:srgbClr val="53798C"/>
    <a:srgbClr val="0464FF"/>
    <a:srgbClr val="74CCF4"/>
    <a:srgbClr val="001F56"/>
    <a:srgbClr val="00CCFF"/>
    <a:srgbClr val="4FDDFF"/>
    <a:srgbClr val="2F67A4"/>
    <a:srgbClr val="3561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4" autoAdjust="0"/>
    <p:restoredTop sz="96196" autoAdjust="0"/>
  </p:normalViewPr>
  <p:slideViewPr>
    <p:cSldViewPr snapToGrid="0">
      <p:cViewPr varScale="1">
        <p:scale>
          <a:sx n="47" d="100"/>
          <a:sy n="47" d="100"/>
        </p:scale>
        <p:origin x="77" y="118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gs" Target="tags/tag5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893" r="-116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7"/>
          <p:cNvSpPr/>
          <p:nvPr userDrawn="1"/>
        </p:nvSpPr>
        <p:spPr>
          <a:xfrm>
            <a:off x="-1" y="-1"/>
            <a:ext cx="12192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03514" y="1723617"/>
            <a:ext cx="10437812" cy="891867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03517" y="2657723"/>
            <a:ext cx="10437810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03517" y="3841452"/>
            <a:ext cx="10437810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03514" y="4142613"/>
            <a:ext cx="10437812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blipFill dpi="0" rotWithShape="1">
            <a:blip r:embed="rId2">
              <a:alphaModFix amt="20000"/>
            </a:blip>
            <a:srcRect/>
            <a:stretch>
              <a:fillRect l="-893" r="-116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669927" y="15180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671043" y="24133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4621" r="-788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82674" y="3429000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82674" y="3132729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82675" y="651959"/>
            <a:ext cx="4470400" cy="220703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组合 10"/>
          <p:cNvGrpSpPr/>
          <p:nvPr userDrawn="1"/>
        </p:nvGrpSpPr>
        <p:grpSpPr>
          <a:xfrm>
            <a:off x="-7962" y="0"/>
            <a:ext cx="12191999" cy="257607"/>
            <a:chOff x="0" y="0"/>
            <a:chExt cx="11200072" cy="186285"/>
          </a:xfrm>
        </p:grpSpPr>
        <p:sp>
          <p:nvSpPr>
            <p:cNvPr id="12" name="矩形 11"/>
            <p:cNvSpPr/>
            <p:nvPr/>
          </p:nvSpPr>
          <p:spPr>
            <a:xfrm>
              <a:off x="0" y="0"/>
              <a:ext cx="2800018" cy="18628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3" name="矩形 12"/>
            <p:cNvSpPr/>
            <p:nvPr/>
          </p:nvSpPr>
          <p:spPr>
            <a:xfrm>
              <a:off x="2800018" y="0"/>
              <a:ext cx="2800018" cy="186285"/>
            </a:xfrm>
            <a:prstGeom prst="rect">
              <a:avLst/>
            </a:prstGeom>
            <a:solidFill>
              <a:srgbClr val="4582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4" name="矩形 13"/>
            <p:cNvSpPr/>
            <p:nvPr/>
          </p:nvSpPr>
          <p:spPr>
            <a:xfrm>
              <a:off x="5600036" y="0"/>
              <a:ext cx="2800018" cy="186285"/>
            </a:xfrm>
            <a:prstGeom prst="rect">
              <a:avLst/>
            </a:prstGeom>
            <a:solidFill>
              <a:srgbClr val="74CC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/>
            <p:cNvSpPr/>
            <p:nvPr/>
          </p:nvSpPr>
          <p:spPr>
            <a:xfrm>
              <a:off x="8400054" y="0"/>
              <a:ext cx="2800018" cy="186285"/>
            </a:xfrm>
            <a:prstGeom prst="rect">
              <a:avLst/>
            </a:prstGeom>
            <a:solidFill>
              <a:srgbClr val="4FD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 flipH="1">
            <a:off x="-796" y="6710521"/>
            <a:ext cx="12191999" cy="147479"/>
            <a:chOff x="0" y="0"/>
            <a:chExt cx="11200072" cy="186285"/>
          </a:xfrm>
        </p:grpSpPr>
        <p:sp>
          <p:nvSpPr>
            <p:cNvPr id="17" name="矩形 16"/>
            <p:cNvSpPr/>
            <p:nvPr/>
          </p:nvSpPr>
          <p:spPr>
            <a:xfrm>
              <a:off x="0" y="0"/>
              <a:ext cx="2800018" cy="18628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2800018" y="0"/>
              <a:ext cx="2800018" cy="186285"/>
            </a:xfrm>
            <a:prstGeom prst="rect">
              <a:avLst/>
            </a:prstGeom>
            <a:solidFill>
              <a:srgbClr val="4582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9" name="矩形 18"/>
            <p:cNvSpPr/>
            <p:nvPr/>
          </p:nvSpPr>
          <p:spPr>
            <a:xfrm>
              <a:off x="5600036" y="0"/>
              <a:ext cx="2800018" cy="186285"/>
            </a:xfrm>
            <a:prstGeom prst="rect">
              <a:avLst/>
            </a:prstGeom>
            <a:solidFill>
              <a:srgbClr val="74CC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0" name="矩形 19"/>
            <p:cNvSpPr/>
            <p:nvPr/>
          </p:nvSpPr>
          <p:spPr>
            <a:xfrm>
              <a:off x="8400054" y="0"/>
              <a:ext cx="2800018" cy="186285"/>
            </a:xfrm>
            <a:prstGeom prst="rect">
              <a:avLst/>
            </a:prstGeom>
            <a:solidFill>
              <a:srgbClr val="4FD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5.jpeg"/><Relationship Id="rId8" Type="http://schemas.openxmlformats.org/officeDocument/2006/relationships/image" Target="../media/image24.jpeg"/><Relationship Id="rId7" Type="http://schemas.openxmlformats.org/officeDocument/2006/relationships/image" Target="../media/image23.jpeg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3" Type="http://schemas.openxmlformats.org/officeDocument/2006/relationships/image" Target="../media/image19.jpeg"/><Relationship Id="rId20" Type="http://schemas.openxmlformats.org/officeDocument/2006/relationships/notesSlide" Target="../notesSlides/notesSlide10.xml"/><Relationship Id="rId2" Type="http://schemas.openxmlformats.org/officeDocument/2006/relationships/image" Target="../media/image18.jpeg"/><Relationship Id="rId19" Type="http://schemas.openxmlformats.org/officeDocument/2006/relationships/slideLayout" Target="../slideLayouts/slideLayout4.xml"/><Relationship Id="rId18" Type="http://schemas.openxmlformats.org/officeDocument/2006/relationships/image" Target="../media/image34.jpeg"/><Relationship Id="rId17" Type="http://schemas.openxmlformats.org/officeDocument/2006/relationships/image" Target="../media/image33.jpeg"/><Relationship Id="rId16" Type="http://schemas.openxmlformats.org/officeDocument/2006/relationships/image" Target="../media/image32.jpeg"/><Relationship Id="rId15" Type="http://schemas.openxmlformats.org/officeDocument/2006/relationships/image" Target="../media/image31.jpeg"/><Relationship Id="rId14" Type="http://schemas.openxmlformats.org/officeDocument/2006/relationships/image" Target="../media/image30.jpeg"/><Relationship Id="rId13" Type="http://schemas.openxmlformats.org/officeDocument/2006/relationships/image" Target="../media/image29.jpeg"/><Relationship Id="rId12" Type="http://schemas.openxmlformats.org/officeDocument/2006/relationships/image" Target="../media/image28.jpeg"/><Relationship Id="rId11" Type="http://schemas.openxmlformats.org/officeDocument/2006/relationships/image" Target="../media/image27.jpeg"/><Relationship Id="rId10" Type="http://schemas.openxmlformats.org/officeDocument/2006/relationships/image" Target="../media/image26.jpeg"/><Relationship Id="rId1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image" Target="../media/image42.jpeg"/><Relationship Id="rId7" Type="http://schemas.openxmlformats.org/officeDocument/2006/relationships/image" Target="../media/image41.jpeg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0" Type="http://schemas.openxmlformats.org/officeDocument/2006/relationships/notesSlide" Target="../notesSlides/notesSlide11.xml"/><Relationship Id="rId1" Type="http://schemas.openxmlformats.org/officeDocument/2006/relationships/image" Target="../media/image35.jpe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image" Target="../media/image50.jpeg"/><Relationship Id="rId7" Type="http://schemas.openxmlformats.org/officeDocument/2006/relationships/image" Target="../media/image49.jpeg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0" Type="http://schemas.openxmlformats.org/officeDocument/2006/relationships/notesSlide" Target="../notesSlides/notesSlide12.xml"/><Relationship Id="rId1" Type="http://schemas.openxmlformats.org/officeDocument/2006/relationships/image" Target="../media/image43.jpe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image" Target="../media/image58.jpeg"/><Relationship Id="rId7" Type="http://schemas.openxmlformats.org/officeDocument/2006/relationships/image" Target="../media/image57.jpeg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image" Target="../media/image5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4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9.png"/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012083" y="3526214"/>
            <a:ext cx="3276000" cy="258922"/>
          </a:xfrm>
        </p:spPr>
        <p:txBody>
          <a:bodyPr/>
          <a:lstStyle/>
          <a:p>
            <a:pPr algn="l"/>
            <a:r>
              <a:rPr lang="zh-CN" altLang="en-US" dirty="0"/>
              <a:t>黑白图片智能上色（花草上色）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012083" y="3850655"/>
            <a:ext cx="1799340" cy="339950"/>
          </a:xfrm>
          <a:prstGeom prst="roundRect">
            <a:avLst>
              <a:gd name="adj" fmla="val 0"/>
            </a:avLst>
          </a:prstGeom>
          <a:noFill/>
        </p:spPr>
        <p:txBody>
          <a:bodyPr/>
          <a:lstStyle/>
          <a:p>
            <a:r>
              <a:rPr lang="en-US" altLang="en-US" dirty="0"/>
              <a:t>2019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9</a:t>
            </a:r>
            <a:r>
              <a:rPr lang="zh-CN" altLang="en-US" dirty="0"/>
              <a:t>日</a:t>
            </a:r>
            <a:endParaRPr lang="en-US" altLang="en-US" dirty="0"/>
          </a:p>
        </p:txBody>
      </p:sp>
      <p:grpSp>
        <p:nvGrpSpPr>
          <p:cNvPr id="17" name="组合 16"/>
          <p:cNvGrpSpPr/>
          <p:nvPr/>
        </p:nvGrpSpPr>
        <p:grpSpPr>
          <a:xfrm>
            <a:off x="1012083" y="461639"/>
            <a:ext cx="7813427" cy="2326403"/>
            <a:chOff x="416689" y="782624"/>
            <a:chExt cx="5537071" cy="1648630"/>
          </a:xfrm>
        </p:grpSpPr>
        <p:grpSp>
          <p:nvGrpSpPr>
            <p:cNvPr id="18" name="组合 17"/>
            <p:cNvGrpSpPr/>
            <p:nvPr userDrawn="1"/>
          </p:nvGrpSpPr>
          <p:grpSpPr>
            <a:xfrm>
              <a:off x="2681970" y="782624"/>
              <a:ext cx="3271790" cy="1648627"/>
              <a:chOff x="1" y="2539326"/>
              <a:chExt cx="2057400" cy="1268350"/>
            </a:xfrm>
          </p:grpSpPr>
          <p:sp>
            <p:nvSpPr>
              <p:cNvPr id="20" name="文本框 19"/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bg1"/>
                    </a:solidFill>
                  </a:rPr>
                  <a:t>项目展示</a:t>
                </a:r>
                <a:endParaRPr lang="zh-CN" altLang="en-US" sz="1660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1" y="2539326"/>
                <a:ext cx="597094" cy="68544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en-US" altLang="zh-CN" sz="16600" dirty="0">
                    <a:solidFill>
                      <a:schemeClr val="bg1"/>
                    </a:solidFill>
                  </a:rPr>
                  <a:t>AI</a:t>
                </a:r>
                <a:endParaRPr lang="en-US" altLang="zh-CN" sz="16600" noProof="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19" name="文本框 18"/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</a:rPr>
                <a:t>人工智能</a:t>
              </a:r>
              <a:endParaRPr lang="zh-CN" altLang="en-US" sz="9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cxnSp>
        <p:nvCxnSpPr>
          <p:cNvPr id="23" name="直接连接符 22"/>
          <p:cNvCxnSpPr/>
          <p:nvPr/>
        </p:nvCxnSpPr>
        <p:spPr>
          <a:xfrm>
            <a:off x="1012083" y="3116617"/>
            <a:ext cx="7640598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1012083" y="970508"/>
            <a:ext cx="7640598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ïṧ1ïḓe"/>
          <p:cNvSpPr txBox="1"/>
          <p:nvPr/>
        </p:nvSpPr>
        <p:spPr>
          <a:xfrm>
            <a:off x="9690788" y="5798126"/>
            <a:ext cx="1719759" cy="393389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添加内容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3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 noProof="0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模型初期的上色情况：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88" y="1165563"/>
            <a:ext cx="2486671" cy="248667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24" y="1177771"/>
            <a:ext cx="2486671" cy="248667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940" y="3867785"/>
            <a:ext cx="2486671" cy="2486671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88" y="3867785"/>
            <a:ext cx="2486672" cy="2486672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24" y="3867785"/>
            <a:ext cx="2486671" cy="2486671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030" y="1165563"/>
            <a:ext cx="2511086" cy="2511086"/>
          </a:xfrm>
          <a:prstGeom prst="rect">
            <a:avLst/>
          </a:prstGeom>
        </p:spPr>
      </p:pic>
      <p:sp>
        <p:nvSpPr>
          <p:cNvPr id="26" name="矩形 25"/>
          <p:cNvSpPr/>
          <p:nvPr/>
        </p:nvSpPr>
        <p:spPr bwMode="auto">
          <a:xfrm>
            <a:off x="9802096" y="1950868"/>
            <a:ext cx="1899821" cy="2956264"/>
          </a:xfrm>
          <a:prstGeom prst="rect">
            <a:avLst/>
          </a:prstGeom>
          <a:solidFill>
            <a:schemeClr val="accent5">
              <a:lumMod val="100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pPr algn="ctr"/>
            <a:r>
              <a:rPr lang="zh-CN" altLang="en-US" sz="4000" dirty="0">
                <a:latin typeface="Arial Black" panose="020B0A04020102020204" pitchFamily="34" charset="0"/>
              </a:rPr>
              <a:t>问题</a:t>
            </a:r>
            <a:r>
              <a:rPr lang="zh-CN" altLang="en-US" dirty="0"/>
              <a:t>：</a:t>
            </a:r>
            <a:endParaRPr lang="en-US" altLang="zh-CN" dirty="0"/>
          </a:p>
          <a:p>
            <a:pPr algn="ctr"/>
            <a:r>
              <a:rPr lang="zh-CN" altLang="en-US" dirty="0"/>
              <a:t>图片的颜色呈现出一块一块的分布，没有轮廓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决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240066"/>
            <a:ext cx="10310071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</a:t>
            </a:r>
            <a:endParaRPr lang="en-US" altLang="zh-CN" dirty="0"/>
          </a:p>
          <a:p>
            <a:r>
              <a:rPr lang="zh-CN" altLang="en-US" dirty="0"/>
              <a:t>项目流程方案</a:t>
            </a:r>
            <a:endParaRPr lang="en-US" altLang="zh-CN" dirty="0"/>
          </a:p>
          <a:p>
            <a:r>
              <a:rPr lang="en-US" altLang="zh-CN" dirty="0"/>
              <a:t>  1.</a:t>
            </a:r>
            <a:r>
              <a:rPr lang="zh-CN" altLang="en-US" dirty="0"/>
              <a:t>进行了紧密的协商，分配了各自的工作每一周都会坐下来谈一谈</a:t>
            </a:r>
            <a:endParaRPr lang="en-US" altLang="zh-CN" dirty="0"/>
          </a:p>
          <a:p>
            <a:r>
              <a:rPr lang="en-US" altLang="zh-CN" dirty="0"/>
              <a:t>  2.</a:t>
            </a:r>
            <a:endParaRPr lang="en-US" altLang="zh-CN" dirty="0"/>
          </a:p>
          <a:p>
            <a:r>
              <a:rPr lang="zh-CN" altLang="en-US" dirty="0"/>
              <a:t>模型解决方案</a:t>
            </a:r>
            <a:endParaRPr lang="en-US" altLang="zh-CN" dirty="0"/>
          </a:p>
          <a:p>
            <a:r>
              <a:rPr lang="en-US" altLang="zh-CN" dirty="0"/>
              <a:t>  1.</a:t>
            </a:r>
            <a:r>
              <a:rPr lang="zh-CN" altLang="en-US" dirty="0"/>
              <a:t>我们在网上大量的搜集一些关于图片上色的文档论文，找到了通过运用基于   </a:t>
            </a:r>
            <a:r>
              <a:rPr lang="en-US" altLang="zh-CN" dirty="0"/>
              <a:t>resnet18</a:t>
            </a:r>
            <a:r>
              <a:rPr lang="zh-CN" altLang="en-US" dirty="0"/>
              <a:t>，通过</a:t>
            </a:r>
            <a:r>
              <a:rPr lang="zh-CN" altLang="en-US" sz="4000" dirty="0"/>
              <a:t>像素差异</a:t>
            </a:r>
            <a:r>
              <a:rPr lang="zh-CN" altLang="en-US" dirty="0"/>
              <a:t>生成图片的模型，组内人员进行了复现，颜色轮廓稳定，但是泛化能力一般。</a:t>
            </a:r>
            <a:endParaRPr lang="en-US" altLang="zh-CN" dirty="0"/>
          </a:p>
          <a:p>
            <a:r>
              <a:rPr lang="en-US" altLang="zh-CN" dirty="0"/>
              <a:t>  2.</a:t>
            </a:r>
            <a:r>
              <a:rPr lang="zh-CN" altLang="en-US" dirty="0"/>
              <a:t>联系</a:t>
            </a:r>
            <a:r>
              <a:rPr lang="en-US" altLang="zh-CN" dirty="0"/>
              <a:t>GAN</a:t>
            </a:r>
            <a:r>
              <a:rPr lang="zh-CN" altLang="en-US" dirty="0"/>
              <a:t>模型提高泛化能力。</a:t>
            </a:r>
            <a:endParaRPr lang="en-US" altLang="zh-CN" dirty="0"/>
          </a:p>
          <a:p>
            <a:r>
              <a:rPr lang="en-US" altLang="zh-CN" dirty="0"/>
              <a:t>  3.</a:t>
            </a:r>
            <a:r>
              <a:rPr lang="zh-CN" altLang="en-US" dirty="0"/>
              <a:t>我们尝试将最开始的</a:t>
            </a:r>
            <a:r>
              <a:rPr lang="en-US" altLang="zh-CN" dirty="0"/>
              <a:t>resnet18</a:t>
            </a:r>
            <a:r>
              <a:rPr lang="zh-CN" altLang="en-US" dirty="0"/>
              <a:t>残差神经网络作为生成器的特征提取部分，进行模型的构建，但是一般</a:t>
            </a:r>
            <a:endParaRPr lang="en-US" altLang="zh-CN" dirty="0"/>
          </a:p>
          <a:p>
            <a:r>
              <a:rPr lang="en-US" altLang="zh-CN" dirty="0"/>
              <a:t>  4.</a:t>
            </a:r>
            <a:r>
              <a:rPr lang="zh-CN" altLang="en-US" dirty="0"/>
              <a:t> 我们需要一个</a:t>
            </a:r>
            <a:r>
              <a:rPr lang="en-US" altLang="zh-CN" dirty="0"/>
              <a:t>GAN</a:t>
            </a:r>
            <a:r>
              <a:rPr lang="zh-CN" altLang="en-US" dirty="0"/>
              <a:t>模型，这个模型要用到像素损失，从而确定了</a:t>
            </a:r>
            <a:r>
              <a:rPr lang="en-US" altLang="zh-CN" sz="4000" dirty="0"/>
              <a:t>pix2pix</a:t>
            </a:r>
            <a:r>
              <a:rPr lang="zh-CN" altLang="en-US" sz="4000" dirty="0"/>
              <a:t>模型</a:t>
            </a:r>
            <a:r>
              <a:rPr lang="zh-CN" altLang="en-US" dirty="0"/>
              <a:t>，并找到了相关论开始学习</a:t>
            </a:r>
            <a:endParaRPr lang="en-US" altLang="zh-CN" dirty="0"/>
          </a:p>
          <a:p>
            <a:r>
              <a:rPr lang="en-US" altLang="zh-CN" dirty="0"/>
              <a:t>  4.</a:t>
            </a:r>
            <a:r>
              <a:rPr lang="zh-CN" altLang="en-US" dirty="0"/>
              <a:t>我们开始明确调参方向，单变量调参</a:t>
            </a:r>
            <a:endParaRPr lang="en-US" altLang="zh-CN" dirty="0"/>
          </a:p>
          <a:p>
            <a:r>
              <a:rPr lang="en-US" altLang="zh-CN" dirty="0"/>
              <a:t>  5.</a:t>
            </a:r>
            <a:r>
              <a:rPr lang="zh-CN" altLang="en-US" dirty="0"/>
              <a:t>我们进行了组间的讨论询问了别的组，并且在网上大量的查找相关文档，找到了新的模型</a:t>
            </a:r>
            <a:r>
              <a:rPr lang="en-US" altLang="zh-CN" dirty="0"/>
              <a:t>pix2pix</a:t>
            </a:r>
            <a:r>
              <a:rPr lang="zh-CN" altLang="en-US" dirty="0"/>
              <a:t>，经过组内讨论我们决定更换模型。</a:t>
            </a:r>
            <a:endParaRPr lang="en-US" altLang="zh-CN" dirty="0"/>
          </a:p>
          <a:p>
            <a:r>
              <a:rPr lang="en-US" altLang="zh-CN" dirty="0"/>
              <a:t>  6.</a:t>
            </a:r>
            <a:r>
              <a:rPr lang="zh-CN" altLang="en-US" dirty="0"/>
              <a:t>模型训练硬件的问题上，得知了</a:t>
            </a:r>
            <a:r>
              <a:rPr lang="en-US" altLang="zh-CN" dirty="0" err="1"/>
              <a:t>kaggle</a:t>
            </a:r>
            <a:r>
              <a:rPr lang="zh-CN" altLang="en-US" dirty="0"/>
              <a:t>这个平台，我们进行了熟练的掌握并开始用这个平台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103194"/>
            <a:ext cx="10850563" cy="1028699"/>
          </a:xfrm>
        </p:spPr>
        <p:txBody>
          <a:bodyPr/>
          <a:lstStyle/>
          <a:p>
            <a:r>
              <a:rPr lang="en-US" altLang="zh-CN" dirty="0"/>
              <a:t>Pix2Pix: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 bwMode="auto">
          <a:xfrm>
            <a:off x="669924" y="925505"/>
            <a:ext cx="11359319" cy="1444833"/>
          </a:xfrm>
          <a:prstGeom prst="rect">
            <a:avLst/>
          </a:prstGeom>
          <a:solidFill>
            <a:schemeClr val="accent5">
              <a:lumMod val="100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rtlCol="0" anchor="ctr"/>
          <a:lstStyle/>
          <a:p>
            <a:r>
              <a:rPr lang="zh-CN" altLang="zh-CN" dirty="0"/>
              <a:t>使用的网络为对抗神经网络</a:t>
            </a:r>
            <a:r>
              <a:rPr lang="en-US" altLang="zh-CN" dirty="0"/>
              <a:t>Pix2Pxi</a:t>
            </a:r>
            <a:r>
              <a:rPr lang="zh-CN" altLang="zh-CN" dirty="0"/>
              <a:t>，生成器为</a:t>
            </a:r>
            <a:r>
              <a:rPr lang="en-US" altLang="zh-CN" dirty="0" err="1"/>
              <a:t>Unet</a:t>
            </a:r>
            <a:r>
              <a:rPr lang="zh-CN" altLang="zh-CN" dirty="0"/>
              <a:t>，判断器为</a:t>
            </a:r>
            <a:r>
              <a:rPr lang="en-US" altLang="zh-CN" dirty="0" err="1"/>
              <a:t>PatchGan</a:t>
            </a:r>
            <a:r>
              <a:rPr lang="en-US" altLang="zh-CN" dirty="0"/>
              <a:t>, </a:t>
            </a:r>
            <a:endParaRPr lang="en-US" altLang="zh-CN" dirty="0"/>
          </a:p>
          <a:p>
            <a:r>
              <a:rPr lang="zh-CN" altLang="en-US" dirty="0"/>
              <a:t>判断器：</a:t>
            </a:r>
            <a:r>
              <a:rPr lang="en-US" altLang="zh-CN" dirty="0" err="1"/>
              <a:t>PatchGan</a:t>
            </a:r>
            <a:r>
              <a:rPr lang="zh-CN" altLang="zh-CN" dirty="0"/>
              <a:t>判断器的优点在于，它可以只观察图片的一部分，不必观察图片的整体。对每一个部分进行判断，最后取概率的平均值。</a:t>
            </a:r>
            <a:endParaRPr lang="zh-CN" altLang="zh-CN" dirty="0"/>
          </a:p>
          <a:p>
            <a:r>
              <a:rPr lang="zh-CN" altLang="zh-CN" dirty="0"/>
              <a:t>我使用的图片为</a:t>
            </a:r>
            <a:r>
              <a:rPr lang="en-US" altLang="zh-CN" dirty="0"/>
              <a:t>256</a:t>
            </a:r>
            <a:r>
              <a:rPr lang="zh-CN" altLang="zh-CN" dirty="0"/>
              <a:t>，文献上认为视野大小为</a:t>
            </a:r>
            <a:r>
              <a:rPr lang="en-US" altLang="zh-CN" dirty="0"/>
              <a:t>70</a:t>
            </a:r>
            <a:r>
              <a:rPr lang="zh-CN" altLang="zh-CN" dirty="0"/>
              <a:t>，是最好的观察大小</a:t>
            </a:r>
            <a:endParaRPr lang="zh-CN" altLang="zh-CN" dirty="0"/>
          </a:p>
        </p:txBody>
      </p:sp>
      <p:pic>
        <p:nvPicPr>
          <p:cNvPr id="8" name="图片 7"/>
          <p:cNvPicPr/>
          <p:nvPr/>
        </p:nvPicPr>
        <p:blipFill>
          <a:blip r:embed="rId1"/>
          <a:stretch>
            <a:fillRect/>
          </a:stretch>
        </p:blipFill>
        <p:spPr>
          <a:xfrm>
            <a:off x="774090" y="2370338"/>
            <a:ext cx="10917801" cy="413699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>
          <a:xfrm>
            <a:off x="2457327" y="1270907"/>
            <a:ext cx="5419185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效果展示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231446" y="1813471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00589B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/04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00589B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11901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1190171" y="3077028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ïṧ1ïḓe"/>
          <p:cNvSpPr txBox="1"/>
          <p:nvPr/>
        </p:nvSpPr>
        <p:spPr>
          <a:xfrm>
            <a:off x="9690788" y="5798126"/>
            <a:ext cx="1719759" cy="393389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添加内容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3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黑白图像：原图</a:t>
            </a:r>
            <a:r>
              <a:rPr lang="zh-CN" altLang="en-US" dirty="0">
                <a:solidFill>
                  <a:srgbClr val="000000"/>
                </a:solidFill>
              </a:rPr>
              <a:t>：上色图片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57" y="5028068"/>
            <a:ext cx="1572325" cy="15723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757" y="5028069"/>
            <a:ext cx="1572325" cy="1572325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344" y="5028067"/>
            <a:ext cx="1572326" cy="157232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573" y="3178806"/>
            <a:ext cx="1572326" cy="157232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0954" y="3178807"/>
            <a:ext cx="1572325" cy="15723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4" y="3146430"/>
            <a:ext cx="1572325" cy="157232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4" y="1305311"/>
            <a:ext cx="1572326" cy="1572326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898" y="1283570"/>
            <a:ext cx="1594067" cy="1594067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183" y="1297916"/>
            <a:ext cx="1572325" cy="1572325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825" y="5042821"/>
            <a:ext cx="1606854" cy="1606854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6045" y="5042821"/>
            <a:ext cx="1606854" cy="1606854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425" y="5042821"/>
            <a:ext cx="1606854" cy="1606854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675" y="1307588"/>
            <a:ext cx="1572326" cy="1572326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428" y="1294802"/>
            <a:ext cx="1571106" cy="1571106"/>
          </a:xfrm>
          <a:prstGeom prst="rect">
            <a:avLst/>
          </a:prstGeom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381" y="1294802"/>
            <a:ext cx="1572325" cy="1572325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9137" y="3200480"/>
            <a:ext cx="1555213" cy="1555213"/>
          </a:xfrm>
          <a:prstGeom prst="rect">
            <a:avLst/>
          </a:prstGeom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322" y="3190860"/>
            <a:ext cx="1572324" cy="1572324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714" y="3213267"/>
            <a:ext cx="1555213" cy="15552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ïṧ1ïḓe"/>
          <p:cNvSpPr txBox="1"/>
          <p:nvPr/>
        </p:nvSpPr>
        <p:spPr>
          <a:xfrm>
            <a:off x="9690788" y="5798126"/>
            <a:ext cx="1719759" cy="393389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添加内容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3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 noProof="0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现在我们展示一些上色接近真实的图片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4" y="1188868"/>
            <a:ext cx="2074332" cy="2074332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291" y="1188868"/>
            <a:ext cx="2074332" cy="207433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268" y="1188868"/>
            <a:ext cx="2085728" cy="2085728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93" y="3865975"/>
            <a:ext cx="2212679" cy="2212679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117" y="3865975"/>
            <a:ext cx="2212679" cy="2212679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641" y="1188868"/>
            <a:ext cx="2102889" cy="2102889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618" y="3891931"/>
            <a:ext cx="2186723" cy="218672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640" y="3891931"/>
            <a:ext cx="2102889" cy="21867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ïṧ1ïḓe"/>
          <p:cNvSpPr txBox="1"/>
          <p:nvPr/>
        </p:nvSpPr>
        <p:spPr>
          <a:xfrm>
            <a:off x="9690788" y="5798126"/>
            <a:ext cx="1719759" cy="393389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添加内容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3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 noProof="0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现在我们展示一些上色接近真实的图片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40" y="1188867"/>
            <a:ext cx="2074332" cy="207433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347" y="1188866"/>
            <a:ext cx="2074331" cy="2074332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831" y="1188866"/>
            <a:ext cx="2074331" cy="2074331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315" y="1225864"/>
            <a:ext cx="2074331" cy="2074331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315" y="3732719"/>
            <a:ext cx="2074331" cy="2074331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831" y="3723795"/>
            <a:ext cx="2083255" cy="2083255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615" y="3723795"/>
            <a:ext cx="2074331" cy="2074331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43" y="3723795"/>
            <a:ext cx="2074332" cy="207433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0000"/>
                </a:solidFill>
              </a:rPr>
              <a:t>现在我们展示一些上色接近真实的图片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196181"/>
            <a:ext cx="2438400" cy="24384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925" y="1196181"/>
            <a:ext cx="2438400" cy="24384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1926" y="1196181"/>
            <a:ext cx="2438400" cy="24384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927" y="1196181"/>
            <a:ext cx="2438400" cy="24384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3799"/>
            <a:ext cx="2438400" cy="243840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925" y="3802062"/>
            <a:ext cx="2438400" cy="243840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1926" y="3843960"/>
            <a:ext cx="2438400" cy="243840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2927" y="3802062"/>
            <a:ext cx="2438400" cy="2438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119869" y="1067797"/>
            <a:ext cx="5048297" cy="1874432"/>
          </a:xfrm>
          <a:effectLst/>
        </p:spPr>
        <p:txBody>
          <a:bodyPr>
            <a:normAutofit/>
          </a:bodyPr>
          <a:lstStyle/>
          <a:p>
            <a:r>
              <a:rPr lang="en-US" altLang="zh-CN" sz="4000" dirty="0"/>
              <a:t>Thanks</a:t>
            </a:r>
            <a:br>
              <a:rPr lang="en-US" altLang="zh-CN" sz="4000" dirty="0"/>
            </a:br>
            <a:r>
              <a:rPr lang="en-US" altLang="zh-CN" sz="4000" dirty="0"/>
              <a:t>and your slogan here</a:t>
            </a:r>
            <a:endParaRPr lang="zh-CN" altLang="en-US" sz="4000" dirty="0"/>
          </a:p>
        </p:txBody>
      </p:sp>
      <p:sp>
        <p:nvSpPr>
          <p:cNvPr id="11" name="文本占位符 5"/>
          <p:cNvSpPr txBox="1"/>
          <p:nvPr/>
        </p:nvSpPr>
        <p:spPr>
          <a:xfrm>
            <a:off x="1119869" y="3160450"/>
            <a:ext cx="3295038" cy="2685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/>
              <a:t>报告人：刘万里</a:t>
            </a:r>
            <a:endParaRPr lang="en-US" altLang="zh-CN" b="1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îṩḷîḋé"/>
          <p:cNvGrpSpPr/>
          <p:nvPr/>
        </p:nvGrpSpPr>
        <p:grpSpPr>
          <a:xfrm>
            <a:off x="8780882" y="4245975"/>
            <a:ext cx="2481976" cy="916657"/>
            <a:chOff x="1343472" y="2013494"/>
            <a:chExt cx="2628292" cy="916657"/>
          </a:xfrm>
        </p:grpSpPr>
        <p:sp>
          <p:nvSpPr>
            <p:cNvPr id="32" name="îṣ1íḑe"/>
            <p:cNvSpPr txBox="1"/>
            <p:nvPr/>
          </p:nvSpPr>
          <p:spPr>
            <a:xfrm>
              <a:off x="1763330" y="2013494"/>
              <a:ext cx="1807938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1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b="1" dirty="0"/>
                <a:t>效果展示</a:t>
              </a:r>
              <a:endParaRPr lang="zh-CN" altLang="en-US" b="1" dirty="0"/>
            </a:p>
          </p:txBody>
        </p:sp>
        <p:sp>
          <p:nvSpPr>
            <p:cNvPr id="33" name="ïsľïdé"/>
            <p:cNvSpPr txBox="1"/>
            <p:nvPr/>
          </p:nvSpPr>
          <p:spPr>
            <a:xfrm>
              <a:off x="1343472" y="2468486"/>
              <a:ext cx="2628292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/>
            </a:p>
          </p:txBody>
        </p:sp>
      </p:grpSp>
      <p:grpSp>
        <p:nvGrpSpPr>
          <p:cNvPr id="28" name="ïṩḷíḋè"/>
          <p:cNvGrpSpPr/>
          <p:nvPr/>
        </p:nvGrpSpPr>
        <p:grpSpPr>
          <a:xfrm>
            <a:off x="3570770" y="4242640"/>
            <a:ext cx="2481976" cy="907941"/>
            <a:chOff x="1343472" y="2022210"/>
            <a:chExt cx="2628292" cy="907941"/>
          </a:xfrm>
        </p:grpSpPr>
        <p:sp>
          <p:nvSpPr>
            <p:cNvPr id="29" name="ï$ḷïdè"/>
            <p:cNvSpPr txBox="1"/>
            <p:nvPr/>
          </p:nvSpPr>
          <p:spPr>
            <a:xfrm>
              <a:off x="1763070" y="2022210"/>
              <a:ext cx="1827302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1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b="1" dirty="0"/>
                <a:t>工作完成情况</a:t>
              </a:r>
              <a:endParaRPr lang="en-US" altLang="zh-CN" b="1" dirty="0"/>
            </a:p>
          </p:txBody>
        </p:sp>
        <p:sp>
          <p:nvSpPr>
            <p:cNvPr id="30" name="íṣḷïḑe"/>
            <p:cNvSpPr txBox="1"/>
            <p:nvPr/>
          </p:nvSpPr>
          <p:spPr>
            <a:xfrm>
              <a:off x="1343472" y="2468486"/>
              <a:ext cx="2628292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îṣľïḍé"/>
          <p:cNvSpPr/>
          <p:nvPr/>
        </p:nvSpPr>
        <p:spPr>
          <a:xfrm>
            <a:off x="0" y="0"/>
            <a:ext cx="12192000" cy="3248980"/>
          </a:xfrm>
          <a:prstGeom prst="rect">
            <a:avLst/>
          </a:prstGeom>
          <a:blipFill dpi="0" rotWithShape="1">
            <a:blip r:embed="rId1"/>
            <a:srcRect/>
            <a:tile tx="0" ty="0" sx="100000" sy="100000" flip="none" algn="ctr"/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D1DADD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grpSp>
        <p:nvGrpSpPr>
          <p:cNvPr id="34" name="组合 33"/>
          <p:cNvGrpSpPr/>
          <p:nvPr/>
        </p:nvGrpSpPr>
        <p:grpSpPr>
          <a:xfrm>
            <a:off x="1468800" y="2511360"/>
            <a:ext cx="1439232" cy="1439232"/>
            <a:chOff x="1468800" y="2511360"/>
            <a:chExt cx="1439232" cy="1439232"/>
          </a:xfrm>
        </p:grpSpPr>
        <p:sp>
          <p:nvSpPr>
            <p:cNvPr id="7" name="íŝ1ïdé"/>
            <p:cNvSpPr/>
            <p:nvPr/>
          </p:nvSpPr>
          <p:spPr bwMode="auto">
            <a:xfrm rot="2700000">
              <a:off x="1468800" y="2511360"/>
              <a:ext cx="1439232" cy="1439232"/>
            </a:xfrm>
            <a:prstGeom prst="roundRect">
              <a:avLst>
                <a:gd name="adj" fmla="val 4945"/>
              </a:avLst>
            </a:prstGeom>
            <a:solidFill>
              <a:schemeClr val="accent1">
                <a:lumMod val="100000"/>
              </a:schemeClr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11" name="iş1ïḓê"/>
            <p:cNvSpPr/>
            <p:nvPr/>
          </p:nvSpPr>
          <p:spPr bwMode="auto">
            <a:xfrm>
              <a:off x="1882067" y="2939434"/>
              <a:ext cx="612698" cy="583084"/>
            </a:xfrm>
            <a:custGeom>
              <a:avLst/>
              <a:gdLst/>
              <a:ahLst/>
              <a:cxnLst/>
              <a:rect l="0" t="0" r="r" b="b"/>
              <a:pathLst>
                <a:path w="4629150" h="4629150">
                  <a:moveTo>
                    <a:pt x="2317164" y="3859790"/>
                  </a:moveTo>
                  <a:cubicBezTo>
                    <a:pt x="2297115" y="3859790"/>
                    <a:pt x="2280107" y="3866979"/>
                    <a:pt x="2266139" y="3881358"/>
                  </a:cubicBezTo>
                  <a:cubicBezTo>
                    <a:pt x="2252171" y="3895737"/>
                    <a:pt x="2245187" y="3914594"/>
                    <a:pt x="2245187" y="3937929"/>
                  </a:cubicBezTo>
                  <a:cubicBezTo>
                    <a:pt x="2245187" y="3953212"/>
                    <a:pt x="2248432" y="3967838"/>
                    <a:pt x="2254923" y="3981806"/>
                  </a:cubicBezTo>
                  <a:cubicBezTo>
                    <a:pt x="2261414" y="3995774"/>
                    <a:pt x="2270494" y="4006414"/>
                    <a:pt x="2282161" y="4013727"/>
                  </a:cubicBezTo>
                  <a:cubicBezTo>
                    <a:pt x="2293829" y="4021040"/>
                    <a:pt x="2306071" y="4024696"/>
                    <a:pt x="2318889" y="4024696"/>
                  </a:cubicBezTo>
                  <a:cubicBezTo>
                    <a:pt x="2337623" y="4024696"/>
                    <a:pt x="2353727" y="4017137"/>
                    <a:pt x="2367203" y="4002018"/>
                  </a:cubicBezTo>
                  <a:cubicBezTo>
                    <a:pt x="2380678" y="3986900"/>
                    <a:pt x="2387415" y="3966359"/>
                    <a:pt x="2387415" y="3940394"/>
                  </a:cubicBezTo>
                  <a:cubicBezTo>
                    <a:pt x="2387415" y="3915416"/>
                    <a:pt x="2380760" y="3895737"/>
                    <a:pt x="2367449" y="3881358"/>
                  </a:cubicBezTo>
                  <a:cubicBezTo>
                    <a:pt x="2354138" y="3866979"/>
                    <a:pt x="2337376" y="3859790"/>
                    <a:pt x="2317164" y="3859790"/>
                  </a:cubicBezTo>
                  <a:close/>
                  <a:moveTo>
                    <a:pt x="2323819" y="3692172"/>
                  </a:moveTo>
                  <a:cubicBezTo>
                    <a:pt x="2352248" y="3692172"/>
                    <a:pt x="2375542" y="3700142"/>
                    <a:pt x="2393701" y="3716082"/>
                  </a:cubicBezTo>
                  <a:cubicBezTo>
                    <a:pt x="2411860" y="3732023"/>
                    <a:pt x="2422746" y="3754043"/>
                    <a:pt x="2426362" y="3782144"/>
                  </a:cubicBezTo>
                  <a:lnTo>
                    <a:pt x="2382239" y="3785594"/>
                  </a:lnTo>
                  <a:cubicBezTo>
                    <a:pt x="2378295" y="3768175"/>
                    <a:pt x="2372708" y="3755522"/>
                    <a:pt x="2365477" y="3747634"/>
                  </a:cubicBezTo>
                  <a:cubicBezTo>
                    <a:pt x="2353481" y="3734980"/>
                    <a:pt x="2338691" y="3728654"/>
                    <a:pt x="2321108" y="3728654"/>
                  </a:cubicBezTo>
                  <a:cubicBezTo>
                    <a:pt x="2306975" y="3728654"/>
                    <a:pt x="2294568" y="3732598"/>
                    <a:pt x="2283887" y="3740486"/>
                  </a:cubicBezTo>
                  <a:cubicBezTo>
                    <a:pt x="2269919" y="3750674"/>
                    <a:pt x="2258908" y="3765546"/>
                    <a:pt x="2250856" y="3785101"/>
                  </a:cubicBezTo>
                  <a:cubicBezTo>
                    <a:pt x="2242804" y="3804657"/>
                    <a:pt x="2238614" y="3832511"/>
                    <a:pt x="2238285" y="3868664"/>
                  </a:cubicBezTo>
                  <a:cubicBezTo>
                    <a:pt x="2248966" y="3852395"/>
                    <a:pt x="2262031" y="3840317"/>
                    <a:pt x="2277478" y="3832429"/>
                  </a:cubicBezTo>
                  <a:cubicBezTo>
                    <a:pt x="2292925" y="3824541"/>
                    <a:pt x="2309112" y="3820597"/>
                    <a:pt x="2326038" y="3820597"/>
                  </a:cubicBezTo>
                  <a:cubicBezTo>
                    <a:pt x="2355617" y="3820597"/>
                    <a:pt x="2380801" y="3831484"/>
                    <a:pt x="2401589" y="3853258"/>
                  </a:cubicBezTo>
                  <a:cubicBezTo>
                    <a:pt x="2422377" y="3875032"/>
                    <a:pt x="2432771" y="3903173"/>
                    <a:pt x="2432771" y="3937683"/>
                  </a:cubicBezTo>
                  <a:cubicBezTo>
                    <a:pt x="2432771" y="3960361"/>
                    <a:pt x="2427882" y="3981436"/>
                    <a:pt x="2418104" y="4000909"/>
                  </a:cubicBezTo>
                  <a:cubicBezTo>
                    <a:pt x="2408326" y="4020382"/>
                    <a:pt x="2394892" y="4035296"/>
                    <a:pt x="2377802" y="4045648"/>
                  </a:cubicBezTo>
                  <a:cubicBezTo>
                    <a:pt x="2360712" y="4056001"/>
                    <a:pt x="2341320" y="4061178"/>
                    <a:pt x="2319629" y="4061178"/>
                  </a:cubicBezTo>
                  <a:cubicBezTo>
                    <a:pt x="2282654" y="4061178"/>
                    <a:pt x="2252500" y="4047579"/>
                    <a:pt x="2229164" y="4020382"/>
                  </a:cubicBezTo>
                  <a:cubicBezTo>
                    <a:pt x="2205829" y="3993186"/>
                    <a:pt x="2194162" y="3948364"/>
                    <a:pt x="2194162" y="3885919"/>
                  </a:cubicBezTo>
                  <a:cubicBezTo>
                    <a:pt x="2194162" y="3816078"/>
                    <a:pt x="2207062" y="3765300"/>
                    <a:pt x="2232862" y="3733584"/>
                  </a:cubicBezTo>
                  <a:cubicBezTo>
                    <a:pt x="2255375" y="3705976"/>
                    <a:pt x="2285694" y="3692172"/>
                    <a:pt x="2323819" y="3692172"/>
                  </a:cubicBezTo>
                  <a:close/>
                  <a:moveTo>
                    <a:pt x="3020074" y="3489300"/>
                  </a:moveTo>
                  <a:lnTo>
                    <a:pt x="3199770" y="3489300"/>
                  </a:lnTo>
                  <a:lnTo>
                    <a:pt x="3199770" y="3531698"/>
                  </a:lnTo>
                  <a:lnTo>
                    <a:pt x="3055570" y="3531698"/>
                  </a:lnTo>
                  <a:lnTo>
                    <a:pt x="3036097" y="3628817"/>
                  </a:lnTo>
                  <a:cubicBezTo>
                    <a:pt x="3057788" y="3613699"/>
                    <a:pt x="3080548" y="3606140"/>
                    <a:pt x="3104376" y="3606140"/>
                  </a:cubicBezTo>
                  <a:cubicBezTo>
                    <a:pt x="3135928" y="3606140"/>
                    <a:pt x="3162549" y="3617068"/>
                    <a:pt x="3184241" y="3638924"/>
                  </a:cubicBezTo>
                  <a:cubicBezTo>
                    <a:pt x="3205933" y="3660780"/>
                    <a:pt x="3216779" y="3688880"/>
                    <a:pt x="3216779" y="3723225"/>
                  </a:cubicBezTo>
                  <a:cubicBezTo>
                    <a:pt x="3216779" y="3755927"/>
                    <a:pt x="3207247" y="3784192"/>
                    <a:pt x="3188185" y="3808020"/>
                  </a:cubicBezTo>
                  <a:cubicBezTo>
                    <a:pt x="3165014" y="3837271"/>
                    <a:pt x="3133381" y="3851897"/>
                    <a:pt x="3093284" y="3851897"/>
                  </a:cubicBezTo>
                  <a:cubicBezTo>
                    <a:pt x="3060418" y="3851897"/>
                    <a:pt x="3033591" y="3842694"/>
                    <a:pt x="3012803" y="3824289"/>
                  </a:cubicBezTo>
                  <a:cubicBezTo>
                    <a:pt x="2992015" y="3805884"/>
                    <a:pt x="2980142" y="3781481"/>
                    <a:pt x="2977184" y="3751080"/>
                  </a:cubicBezTo>
                  <a:lnTo>
                    <a:pt x="3023772" y="3747136"/>
                  </a:lnTo>
                  <a:cubicBezTo>
                    <a:pt x="3027223" y="3769813"/>
                    <a:pt x="3035234" y="3786863"/>
                    <a:pt x="3047805" y="3798284"/>
                  </a:cubicBezTo>
                  <a:cubicBezTo>
                    <a:pt x="3060377" y="3809705"/>
                    <a:pt x="3075536" y="3815415"/>
                    <a:pt x="3093284" y="3815415"/>
                  </a:cubicBezTo>
                  <a:cubicBezTo>
                    <a:pt x="3114647" y="3815415"/>
                    <a:pt x="3132723" y="3807363"/>
                    <a:pt x="3147513" y="3791258"/>
                  </a:cubicBezTo>
                  <a:cubicBezTo>
                    <a:pt x="3162303" y="3775154"/>
                    <a:pt x="3169698" y="3753791"/>
                    <a:pt x="3169698" y="3727169"/>
                  </a:cubicBezTo>
                  <a:cubicBezTo>
                    <a:pt x="3169698" y="3701862"/>
                    <a:pt x="3162590" y="3681896"/>
                    <a:pt x="3148376" y="3667271"/>
                  </a:cubicBezTo>
                  <a:cubicBezTo>
                    <a:pt x="3134161" y="3652645"/>
                    <a:pt x="3115551" y="3645333"/>
                    <a:pt x="3092544" y="3645333"/>
                  </a:cubicBezTo>
                  <a:cubicBezTo>
                    <a:pt x="3078248" y="3645333"/>
                    <a:pt x="3065348" y="3648578"/>
                    <a:pt x="3053844" y="3655069"/>
                  </a:cubicBezTo>
                  <a:cubicBezTo>
                    <a:pt x="3042341" y="3661560"/>
                    <a:pt x="3033303" y="3669982"/>
                    <a:pt x="3026730" y="3680335"/>
                  </a:cubicBezTo>
                  <a:lnTo>
                    <a:pt x="2985072" y="3674912"/>
                  </a:lnTo>
                  <a:lnTo>
                    <a:pt x="3020074" y="3489300"/>
                  </a:lnTo>
                  <a:close/>
                  <a:moveTo>
                    <a:pt x="1418041" y="3489054"/>
                  </a:moveTo>
                  <a:lnTo>
                    <a:pt x="1651967" y="3489054"/>
                  </a:lnTo>
                  <a:lnTo>
                    <a:pt x="1651967" y="3523563"/>
                  </a:lnTo>
                  <a:cubicBezTo>
                    <a:pt x="1628960" y="3548049"/>
                    <a:pt x="1606159" y="3580586"/>
                    <a:pt x="1583564" y="3621176"/>
                  </a:cubicBezTo>
                  <a:cubicBezTo>
                    <a:pt x="1560968" y="3661766"/>
                    <a:pt x="1543508" y="3703506"/>
                    <a:pt x="1531183" y="3746396"/>
                  </a:cubicBezTo>
                  <a:cubicBezTo>
                    <a:pt x="1522309" y="3776633"/>
                    <a:pt x="1516640" y="3809746"/>
                    <a:pt x="1514175" y="3845734"/>
                  </a:cubicBezTo>
                  <a:lnTo>
                    <a:pt x="1468573" y="3845734"/>
                  </a:lnTo>
                  <a:cubicBezTo>
                    <a:pt x="1469066" y="3817305"/>
                    <a:pt x="1474653" y="3782960"/>
                    <a:pt x="1485335" y="3742699"/>
                  </a:cubicBezTo>
                  <a:cubicBezTo>
                    <a:pt x="1496017" y="3702438"/>
                    <a:pt x="1511340" y="3663614"/>
                    <a:pt x="1531307" y="3626229"/>
                  </a:cubicBezTo>
                  <a:cubicBezTo>
                    <a:pt x="1551273" y="3588844"/>
                    <a:pt x="1572513" y="3557333"/>
                    <a:pt x="1595026" y="3531698"/>
                  </a:cubicBezTo>
                  <a:lnTo>
                    <a:pt x="1418041" y="3531698"/>
                  </a:lnTo>
                  <a:lnTo>
                    <a:pt x="1418041" y="3489054"/>
                  </a:lnTo>
                  <a:close/>
                  <a:moveTo>
                    <a:pt x="960894" y="3097227"/>
                  </a:moveTo>
                  <a:cubicBezTo>
                    <a:pt x="940024" y="3097227"/>
                    <a:pt x="922728" y="3104129"/>
                    <a:pt x="909007" y="3117933"/>
                  </a:cubicBezTo>
                  <a:cubicBezTo>
                    <a:pt x="895285" y="3131737"/>
                    <a:pt x="888424" y="3148991"/>
                    <a:pt x="888424" y="3169697"/>
                  </a:cubicBezTo>
                  <a:cubicBezTo>
                    <a:pt x="888424" y="3182351"/>
                    <a:pt x="891423" y="3194593"/>
                    <a:pt x="897421" y="3206425"/>
                  </a:cubicBezTo>
                  <a:cubicBezTo>
                    <a:pt x="903420" y="3218257"/>
                    <a:pt x="912335" y="3227418"/>
                    <a:pt x="924166" y="3233910"/>
                  </a:cubicBezTo>
                  <a:cubicBezTo>
                    <a:pt x="935998" y="3240401"/>
                    <a:pt x="948734" y="3243646"/>
                    <a:pt x="962373" y="3243646"/>
                  </a:cubicBezTo>
                  <a:cubicBezTo>
                    <a:pt x="983572" y="3243646"/>
                    <a:pt x="1001073" y="3236826"/>
                    <a:pt x="1014877" y="3223187"/>
                  </a:cubicBezTo>
                  <a:cubicBezTo>
                    <a:pt x="1028681" y="3209547"/>
                    <a:pt x="1035583" y="3192211"/>
                    <a:pt x="1035583" y="3171176"/>
                  </a:cubicBezTo>
                  <a:cubicBezTo>
                    <a:pt x="1035583" y="3149813"/>
                    <a:pt x="1028476" y="3132148"/>
                    <a:pt x="1014261" y="3118179"/>
                  </a:cubicBezTo>
                  <a:cubicBezTo>
                    <a:pt x="1000046" y="3104211"/>
                    <a:pt x="982257" y="3097227"/>
                    <a:pt x="960894" y="3097227"/>
                  </a:cubicBezTo>
                  <a:close/>
                  <a:moveTo>
                    <a:pt x="3691180" y="2983839"/>
                  </a:moveTo>
                  <a:lnTo>
                    <a:pt x="3578039" y="3146773"/>
                  </a:lnTo>
                  <a:lnTo>
                    <a:pt x="3691180" y="3146773"/>
                  </a:lnTo>
                  <a:lnTo>
                    <a:pt x="3691180" y="2983839"/>
                  </a:lnTo>
                  <a:close/>
                  <a:moveTo>
                    <a:pt x="961634" y="2947604"/>
                  </a:moveTo>
                  <a:cubicBezTo>
                    <a:pt x="944708" y="2947604"/>
                    <a:pt x="930657" y="2953027"/>
                    <a:pt x="919483" y="2963872"/>
                  </a:cubicBezTo>
                  <a:cubicBezTo>
                    <a:pt x="908308" y="2974718"/>
                    <a:pt x="902721" y="2987700"/>
                    <a:pt x="902721" y="3002819"/>
                  </a:cubicBezTo>
                  <a:cubicBezTo>
                    <a:pt x="902721" y="3019909"/>
                    <a:pt x="908226" y="3033877"/>
                    <a:pt x="919236" y="3044723"/>
                  </a:cubicBezTo>
                  <a:cubicBezTo>
                    <a:pt x="930247" y="3055569"/>
                    <a:pt x="944543" y="3060992"/>
                    <a:pt x="962127" y="3060992"/>
                  </a:cubicBezTo>
                  <a:cubicBezTo>
                    <a:pt x="979217" y="3060992"/>
                    <a:pt x="993226" y="3055610"/>
                    <a:pt x="1004155" y="3044847"/>
                  </a:cubicBezTo>
                  <a:cubicBezTo>
                    <a:pt x="1015083" y="3034083"/>
                    <a:pt x="1020547" y="3020895"/>
                    <a:pt x="1020547" y="3005284"/>
                  </a:cubicBezTo>
                  <a:cubicBezTo>
                    <a:pt x="1020547" y="2989015"/>
                    <a:pt x="1014918" y="2975335"/>
                    <a:pt x="1003662" y="2964242"/>
                  </a:cubicBezTo>
                  <a:cubicBezTo>
                    <a:pt x="992405" y="2953150"/>
                    <a:pt x="978396" y="2947604"/>
                    <a:pt x="961634" y="2947604"/>
                  </a:cubicBezTo>
                  <a:close/>
                  <a:moveTo>
                    <a:pt x="3699315" y="2912601"/>
                  </a:moveTo>
                  <a:lnTo>
                    <a:pt x="3735550" y="2912601"/>
                  </a:lnTo>
                  <a:lnTo>
                    <a:pt x="3735550" y="3146773"/>
                  </a:lnTo>
                  <a:lnTo>
                    <a:pt x="3784356" y="3146773"/>
                  </a:lnTo>
                  <a:lnTo>
                    <a:pt x="3784356" y="3187445"/>
                  </a:lnTo>
                  <a:lnTo>
                    <a:pt x="3735550" y="3187445"/>
                  </a:lnTo>
                  <a:lnTo>
                    <a:pt x="3735550" y="3273965"/>
                  </a:lnTo>
                  <a:lnTo>
                    <a:pt x="3691180" y="3273965"/>
                  </a:lnTo>
                  <a:lnTo>
                    <a:pt x="3691180" y="3187445"/>
                  </a:lnTo>
                  <a:lnTo>
                    <a:pt x="3534409" y="3187445"/>
                  </a:lnTo>
                  <a:lnTo>
                    <a:pt x="3534409" y="3146773"/>
                  </a:lnTo>
                  <a:lnTo>
                    <a:pt x="3699315" y="2912601"/>
                  </a:lnTo>
                  <a:close/>
                  <a:moveTo>
                    <a:pt x="961141" y="2911122"/>
                  </a:moveTo>
                  <a:cubicBezTo>
                    <a:pt x="992692" y="2911122"/>
                    <a:pt x="1018082" y="2920284"/>
                    <a:pt x="1037308" y="2938607"/>
                  </a:cubicBezTo>
                  <a:cubicBezTo>
                    <a:pt x="1056535" y="2956929"/>
                    <a:pt x="1066148" y="2979237"/>
                    <a:pt x="1066148" y="3005530"/>
                  </a:cubicBezTo>
                  <a:cubicBezTo>
                    <a:pt x="1066148" y="3022292"/>
                    <a:pt x="1061753" y="3036877"/>
                    <a:pt x="1052961" y="3049284"/>
                  </a:cubicBezTo>
                  <a:cubicBezTo>
                    <a:pt x="1044169" y="3061690"/>
                    <a:pt x="1030817" y="3071263"/>
                    <a:pt x="1012905" y="3078000"/>
                  </a:cubicBezTo>
                  <a:cubicBezTo>
                    <a:pt x="1035090" y="3085231"/>
                    <a:pt x="1051975" y="3096899"/>
                    <a:pt x="1063560" y="3113003"/>
                  </a:cubicBezTo>
                  <a:cubicBezTo>
                    <a:pt x="1075146" y="3129107"/>
                    <a:pt x="1080938" y="3148334"/>
                    <a:pt x="1080938" y="3170683"/>
                  </a:cubicBezTo>
                  <a:cubicBezTo>
                    <a:pt x="1080938" y="3201577"/>
                    <a:pt x="1070010" y="3227542"/>
                    <a:pt x="1048154" y="3248576"/>
                  </a:cubicBezTo>
                  <a:cubicBezTo>
                    <a:pt x="1026298" y="3269610"/>
                    <a:pt x="997540" y="3280128"/>
                    <a:pt x="961880" y="3280128"/>
                  </a:cubicBezTo>
                  <a:cubicBezTo>
                    <a:pt x="926221" y="3280128"/>
                    <a:pt x="897463" y="3269569"/>
                    <a:pt x="875607" y="3248453"/>
                  </a:cubicBezTo>
                  <a:cubicBezTo>
                    <a:pt x="853751" y="3227336"/>
                    <a:pt x="842822" y="3201002"/>
                    <a:pt x="842822" y="3169451"/>
                  </a:cubicBezTo>
                  <a:cubicBezTo>
                    <a:pt x="842822" y="3145951"/>
                    <a:pt x="848779" y="3126273"/>
                    <a:pt x="860693" y="3110415"/>
                  </a:cubicBezTo>
                  <a:cubicBezTo>
                    <a:pt x="872607" y="3094557"/>
                    <a:pt x="889575" y="3083752"/>
                    <a:pt x="911595" y="3078000"/>
                  </a:cubicBezTo>
                  <a:cubicBezTo>
                    <a:pt x="893190" y="3071263"/>
                    <a:pt x="879550" y="3061649"/>
                    <a:pt x="870677" y="3049160"/>
                  </a:cubicBezTo>
                  <a:cubicBezTo>
                    <a:pt x="861803" y="3036671"/>
                    <a:pt x="857366" y="3021717"/>
                    <a:pt x="857366" y="3004298"/>
                  </a:cubicBezTo>
                  <a:cubicBezTo>
                    <a:pt x="857366" y="2978005"/>
                    <a:pt x="866815" y="2955902"/>
                    <a:pt x="885713" y="2937990"/>
                  </a:cubicBezTo>
                  <a:cubicBezTo>
                    <a:pt x="904611" y="2920078"/>
                    <a:pt x="929754" y="2911122"/>
                    <a:pt x="961141" y="2911122"/>
                  </a:cubicBezTo>
                  <a:close/>
                  <a:moveTo>
                    <a:pt x="753091" y="2166800"/>
                  </a:moveTo>
                  <a:cubicBezTo>
                    <a:pt x="733372" y="2166800"/>
                    <a:pt x="716199" y="2174852"/>
                    <a:pt x="701574" y="2190957"/>
                  </a:cubicBezTo>
                  <a:cubicBezTo>
                    <a:pt x="686948" y="2207061"/>
                    <a:pt x="679635" y="2227931"/>
                    <a:pt x="679635" y="2253567"/>
                  </a:cubicBezTo>
                  <a:cubicBezTo>
                    <a:pt x="679635" y="2276573"/>
                    <a:pt x="686578" y="2295266"/>
                    <a:pt x="700464" y="2309645"/>
                  </a:cubicBezTo>
                  <a:cubicBezTo>
                    <a:pt x="714350" y="2324024"/>
                    <a:pt x="731482" y="2331213"/>
                    <a:pt x="751859" y="2331213"/>
                  </a:cubicBezTo>
                  <a:cubicBezTo>
                    <a:pt x="772400" y="2331213"/>
                    <a:pt x="789285" y="2324024"/>
                    <a:pt x="802514" y="2309645"/>
                  </a:cubicBezTo>
                  <a:cubicBezTo>
                    <a:pt x="815743" y="2295266"/>
                    <a:pt x="822357" y="2275341"/>
                    <a:pt x="822357" y="2249870"/>
                  </a:cubicBezTo>
                  <a:cubicBezTo>
                    <a:pt x="822357" y="2224398"/>
                    <a:pt x="815578" y="2204185"/>
                    <a:pt x="802021" y="2189231"/>
                  </a:cubicBezTo>
                  <a:cubicBezTo>
                    <a:pt x="788464" y="2174277"/>
                    <a:pt x="772154" y="2166800"/>
                    <a:pt x="753091" y="2166800"/>
                  </a:cubicBezTo>
                  <a:close/>
                  <a:moveTo>
                    <a:pt x="3871622" y="2130072"/>
                  </a:moveTo>
                  <a:cubicBezTo>
                    <a:pt x="3891342" y="2130072"/>
                    <a:pt x="3909501" y="2134304"/>
                    <a:pt x="3926098" y="2142767"/>
                  </a:cubicBezTo>
                  <a:cubicBezTo>
                    <a:pt x="3942696" y="2151230"/>
                    <a:pt x="3955390" y="2162774"/>
                    <a:pt x="3964182" y="2177400"/>
                  </a:cubicBezTo>
                  <a:cubicBezTo>
                    <a:pt x="3972974" y="2192025"/>
                    <a:pt x="3977369" y="2207554"/>
                    <a:pt x="3977369" y="2223987"/>
                  </a:cubicBezTo>
                  <a:cubicBezTo>
                    <a:pt x="3977369" y="2239599"/>
                    <a:pt x="3973179" y="2253813"/>
                    <a:pt x="3964798" y="2266631"/>
                  </a:cubicBezTo>
                  <a:cubicBezTo>
                    <a:pt x="3956417" y="2279449"/>
                    <a:pt x="3944010" y="2289638"/>
                    <a:pt x="3927577" y="2297197"/>
                  </a:cubicBezTo>
                  <a:cubicBezTo>
                    <a:pt x="3948940" y="2302127"/>
                    <a:pt x="3965538" y="2312356"/>
                    <a:pt x="3977369" y="2327886"/>
                  </a:cubicBezTo>
                  <a:cubicBezTo>
                    <a:pt x="3989201" y="2343415"/>
                    <a:pt x="3995117" y="2362847"/>
                    <a:pt x="3995117" y="2386182"/>
                  </a:cubicBezTo>
                  <a:cubicBezTo>
                    <a:pt x="3995117" y="2417734"/>
                    <a:pt x="3983614" y="2444479"/>
                    <a:pt x="3960608" y="2466417"/>
                  </a:cubicBezTo>
                  <a:cubicBezTo>
                    <a:pt x="3937601" y="2488355"/>
                    <a:pt x="3908515" y="2499324"/>
                    <a:pt x="3873348" y="2499324"/>
                  </a:cubicBezTo>
                  <a:cubicBezTo>
                    <a:pt x="3841632" y="2499324"/>
                    <a:pt x="3815298" y="2489875"/>
                    <a:pt x="3794346" y="2470977"/>
                  </a:cubicBezTo>
                  <a:cubicBezTo>
                    <a:pt x="3773393" y="2452079"/>
                    <a:pt x="3761438" y="2427594"/>
                    <a:pt x="3758480" y="2397521"/>
                  </a:cubicBezTo>
                  <a:lnTo>
                    <a:pt x="3802850" y="2391605"/>
                  </a:lnTo>
                  <a:cubicBezTo>
                    <a:pt x="3807944" y="2416748"/>
                    <a:pt x="3816613" y="2434865"/>
                    <a:pt x="3828855" y="2445958"/>
                  </a:cubicBezTo>
                  <a:cubicBezTo>
                    <a:pt x="3841098" y="2457050"/>
                    <a:pt x="3856011" y="2462596"/>
                    <a:pt x="3873594" y="2462596"/>
                  </a:cubicBezTo>
                  <a:cubicBezTo>
                    <a:pt x="3894464" y="2462596"/>
                    <a:pt x="3912089" y="2455366"/>
                    <a:pt x="3926468" y="2440904"/>
                  </a:cubicBezTo>
                  <a:cubicBezTo>
                    <a:pt x="3940847" y="2426443"/>
                    <a:pt x="3948036" y="2408531"/>
                    <a:pt x="3948036" y="2387168"/>
                  </a:cubicBezTo>
                  <a:cubicBezTo>
                    <a:pt x="3948036" y="2366791"/>
                    <a:pt x="3941381" y="2349988"/>
                    <a:pt x="3928070" y="2336760"/>
                  </a:cubicBezTo>
                  <a:cubicBezTo>
                    <a:pt x="3914759" y="2323531"/>
                    <a:pt x="3897833" y="2316917"/>
                    <a:pt x="3877292" y="2316917"/>
                  </a:cubicBezTo>
                  <a:cubicBezTo>
                    <a:pt x="3868911" y="2316917"/>
                    <a:pt x="3858476" y="2318560"/>
                    <a:pt x="3845987" y="2321847"/>
                  </a:cubicBezTo>
                  <a:lnTo>
                    <a:pt x="3850917" y="2282900"/>
                  </a:lnTo>
                  <a:cubicBezTo>
                    <a:pt x="3853875" y="2283229"/>
                    <a:pt x="3856257" y="2283393"/>
                    <a:pt x="3858065" y="2283393"/>
                  </a:cubicBezTo>
                  <a:cubicBezTo>
                    <a:pt x="3876963" y="2283393"/>
                    <a:pt x="3893971" y="2278463"/>
                    <a:pt x="3909090" y="2268603"/>
                  </a:cubicBezTo>
                  <a:cubicBezTo>
                    <a:pt x="3924208" y="2258743"/>
                    <a:pt x="3931768" y="2243543"/>
                    <a:pt x="3931768" y="2223001"/>
                  </a:cubicBezTo>
                  <a:cubicBezTo>
                    <a:pt x="3931768" y="2206733"/>
                    <a:pt x="3926262" y="2193257"/>
                    <a:pt x="3915252" y="2182576"/>
                  </a:cubicBezTo>
                  <a:cubicBezTo>
                    <a:pt x="3904242" y="2171894"/>
                    <a:pt x="3890027" y="2166554"/>
                    <a:pt x="3872608" y="2166554"/>
                  </a:cubicBezTo>
                  <a:cubicBezTo>
                    <a:pt x="3855354" y="2166554"/>
                    <a:pt x="3840975" y="2171977"/>
                    <a:pt x="3829471" y="2182822"/>
                  </a:cubicBezTo>
                  <a:cubicBezTo>
                    <a:pt x="3817968" y="2193668"/>
                    <a:pt x="3810573" y="2209937"/>
                    <a:pt x="3807287" y="2231629"/>
                  </a:cubicBezTo>
                  <a:lnTo>
                    <a:pt x="3762917" y="2223741"/>
                  </a:lnTo>
                  <a:cubicBezTo>
                    <a:pt x="3768340" y="2193997"/>
                    <a:pt x="3780665" y="2170950"/>
                    <a:pt x="3799892" y="2154599"/>
                  </a:cubicBezTo>
                  <a:cubicBezTo>
                    <a:pt x="3819119" y="2138248"/>
                    <a:pt x="3843029" y="2130072"/>
                    <a:pt x="3871622" y="2130072"/>
                  </a:cubicBezTo>
                  <a:close/>
                  <a:moveTo>
                    <a:pt x="747668" y="2130072"/>
                  </a:moveTo>
                  <a:cubicBezTo>
                    <a:pt x="771168" y="2130072"/>
                    <a:pt x="792654" y="2136399"/>
                    <a:pt x="812127" y="2149052"/>
                  </a:cubicBezTo>
                  <a:cubicBezTo>
                    <a:pt x="831600" y="2161706"/>
                    <a:pt x="846390" y="2179741"/>
                    <a:pt x="856497" y="2203158"/>
                  </a:cubicBezTo>
                  <a:cubicBezTo>
                    <a:pt x="866603" y="2226576"/>
                    <a:pt x="871656" y="2260469"/>
                    <a:pt x="871656" y="2304838"/>
                  </a:cubicBezTo>
                  <a:cubicBezTo>
                    <a:pt x="871656" y="2351015"/>
                    <a:pt x="866644" y="2387784"/>
                    <a:pt x="856620" y="2415145"/>
                  </a:cubicBezTo>
                  <a:cubicBezTo>
                    <a:pt x="846596" y="2442507"/>
                    <a:pt x="831683" y="2463336"/>
                    <a:pt x="811881" y="2477632"/>
                  </a:cubicBezTo>
                  <a:cubicBezTo>
                    <a:pt x="792079" y="2491929"/>
                    <a:pt x="768867" y="2499078"/>
                    <a:pt x="742245" y="2499078"/>
                  </a:cubicBezTo>
                  <a:cubicBezTo>
                    <a:pt x="713981" y="2499078"/>
                    <a:pt x="690892" y="2491231"/>
                    <a:pt x="672980" y="2475537"/>
                  </a:cubicBezTo>
                  <a:cubicBezTo>
                    <a:pt x="655068" y="2459844"/>
                    <a:pt x="644304" y="2437782"/>
                    <a:pt x="640689" y="2409353"/>
                  </a:cubicBezTo>
                  <a:lnTo>
                    <a:pt x="683333" y="2405409"/>
                  </a:lnTo>
                  <a:cubicBezTo>
                    <a:pt x="686948" y="2425457"/>
                    <a:pt x="693850" y="2440001"/>
                    <a:pt x="704039" y="2449039"/>
                  </a:cubicBezTo>
                  <a:cubicBezTo>
                    <a:pt x="714227" y="2458077"/>
                    <a:pt x="727291" y="2462596"/>
                    <a:pt x="743231" y="2462596"/>
                  </a:cubicBezTo>
                  <a:cubicBezTo>
                    <a:pt x="756871" y="2462596"/>
                    <a:pt x="768826" y="2459474"/>
                    <a:pt x="779097" y="2453229"/>
                  </a:cubicBezTo>
                  <a:cubicBezTo>
                    <a:pt x="789367" y="2446985"/>
                    <a:pt x="797789" y="2438645"/>
                    <a:pt x="804363" y="2428210"/>
                  </a:cubicBezTo>
                  <a:cubicBezTo>
                    <a:pt x="810936" y="2417775"/>
                    <a:pt x="816441" y="2403683"/>
                    <a:pt x="820878" y="2385936"/>
                  </a:cubicBezTo>
                  <a:cubicBezTo>
                    <a:pt x="825315" y="2368188"/>
                    <a:pt x="827533" y="2350111"/>
                    <a:pt x="827533" y="2331706"/>
                  </a:cubicBezTo>
                  <a:cubicBezTo>
                    <a:pt x="827533" y="2329734"/>
                    <a:pt x="827451" y="2326776"/>
                    <a:pt x="827287" y="2322832"/>
                  </a:cubicBezTo>
                  <a:cubicBezTo>
                    <a:pt x="818413" y="2336965"/>
                    <a:pt x="806293" y="2348427"/>
                    <a:pt x="790929" y="2357219"/>
                  </a:cubicBezTo>
                  <a:cubicBezTo>
                    <a:pt x="775564" y="2366010"/>
                    <a:pt x="758925" y="2370406"/>
                    <a:pt x="741013" y="2370406"/>
                  </a:cubicBezTo>
                  <a:cubicBezTo>
                    <a:pt x="711105" y="2370406"/>
                    <a:pt x="685798" y="2359560"/>
                    <a:pt x="665092" y="2337869"/>
                  </a:cubicBezTo>
                  <a:cubicBezTo>
                    <a:pt x="644386" y="2316177"/>
                    <a:pt x="634033" y="2287583"/>
                    <a:pt x="634033" y="2252088"/>
                  </a:cubicBezTo>
                  <a:cubicBezTo>
                    <a:pt x="634033" y="2215442"/>
                    <a:pt x="644838" y="2185945"/>
                    <a:pt x="666448" y="2163596"/>
                  </a:cubicBezTo>
                  <a:cubicBezTo>
                    <a:pt x="688057" y="2141247"/>
                    <a:pt x="715131" y="2130072"/>
                    <a:pt x="747668" y="2130072"/>
                  </a:cubicBezTo>
                  <a:close/>
                  <a:moveTo>
                    <a:pt x="1552575" y="1936750"/>
                  </a:moveTo>
                  <a:lnTo>
                    <a:pt x="1562100" y="1939925"/>
                  </a:lnTo>
                  <a:lnTo>
                    <a:pt x="2228850" y="2241550"/>
                  </a:lnTo>
                  <a:lnTo>
                    <a:pt x="2247900" y="2225675"/>
                  </a:lnTo>
                  <a:lnTo>
                    <a:pt x="2266950" y="2212975"/>
                  </a:lnTo>
                  <a:lnTo>
                    <a:pt x="2289175" y="2206625"/>
                  </a:lnTo>
                  <a:lnTo>
                    <a:pt x="2314575" y="2203450"/>
                  </a:lnTo>
                  <a:lnTo>
                    <a:pt x="2336800" y="2206625"/>
                  </a:lnTo>
                  <a:lnTo>
                    <a:pt x="2359025" y="2212975"/>
                  </a:lnTo>
                  <a:lnTo>
                    <a:pt x="2378075" y="2222500"/>
                  </a:lnTo>
                  <a:lnTo>
                    <a:pt x="2393950" y="2235200"/>
                  </a:lnTo>
                  <a:lnTo>
                    <a:pt x="2406650" y="2251075"/>
                  </a:lnTo>
                  <a:lnTo>
                    <a:pt x="2419350" y="2270125"/>
                  </a:lnTo>
                  <a:lnTo>
                    <a:pt x="2425700" y="2292350"/>
                  </a:lnTo>
                  <a:lnTo>
                    <a:pt x="2425700" y="2314575"/>
                  </a:lnTo>
                  <a:lnTo>
                    <a:pt x="2425700" y="2336800"/>
                  </a:lnTo>
                  <a:lnTo>
                    <a:pt x="2419350" y="2359025"/>
                  </a:lnTo>
                  <a:lnTo>
                    <a:pt x="2406650" y="2378075"/>
                  </a:lnTo>
                  <a:lnTo>
                    <a:pt x="2393950" y="2393950"/>
                  </a:lnTo>
                  <a:lnTo>
                    <a:pt x="2378075" y="2406650"/>
                  </a:lnTo>
                  <a:lnTo>
                    <a:pt x="2359025" y="2419350"/>
                  </a:lnTo>
                  <a:lnTo>
                    <a:pt x="2336800" y="2425700"/>
                  </a:lnTo>
                  <a:lnTo>
                    <a:pt x="2330450" y="2425700"/>
                  </a:lnTo>
                  <a:lnTo>
                    <a:pt x="2330450" y="3467100"/>
                  </a:lnTo>
                  <a:lnTo>
                    <a:pt x="2327275" y="3470275"/>
                  </a:lnTo>
                  <a:lnTo>
                    <a:pt x="2324100" y="3473450"/>
                  </a:lnTo>
                  <a:lnTo>
                    <a:pt x="2320925" y="3476625"/>
                  </a:lnTo>
                  <a:lnTo>
                    <a:pt x="2314575" y="3476625"/>
                  </a:lnTo>
                  <a:lnTo>
                    <a:pt x="2308225" y="3476625"/>
                  </a:lnTo>
                  <a:lnTo>
                    <a:pt x="2305050" y="3473450"/>
                  </a:lnTo>
                  <a:lnTo>
                    <a:pt x="2301875" y="3470275"/>
                  </a:lnTo>
                  <a:lnTo>
                    <a:pt x="2301875" y="3467100"/>
                  </a:lnTo>
                  <a:lnTo>
                    <a:pt x="2301875" y="2425700"/>
                  </a:lnTo>
                  <a:lnTo>
                    <a:pt x="2292350" y="2425700"/>
                  </a:lnTo>
                  <a:lnTo>
                    <a:pt x="2270125" y="2416175"/>
                  </a:lnTo>
                  <a:lnTo>
                    <a:pt x="2251075" y="2406650"/>
                  </a:lnTo>
                  <a:lnTo>
                    <a:pt x="2232025" y="2390775"/>
                  </a:lnTo>
                  <a:lnTo>
                    <a:pt x="1098550" y="2882900"/>
                  </a:lnTo>
                  <a:lnTo>
                    <a:pt x="1089025" y="2886075"/>
                  </a:lnTo>
                  <a:lnTo>
                    <a:pt x="1076325" y="2882900"/>
                  </a:lnTo>
                  <a:lnTo>
                    <a:pt x="1066800" y="2873375"/>
                  </a:lnTo>
                  <a:lnTo>
                    <a:pt x="1060450" y="2863850"/>
                  </a:lnTo>
                  <a:lnTo>
                    <a:pt x="1057275" y="2851150"/>
                  </a:lnTo>
                  <a:lnTo>
                    <a:pt x="1057275" y="2838450"/>
                  </a:lnTo>
                  <a:lnTo>
                    <a:pt x="1063625" y="2828925"/>
                  </a:lnTo>
                  <a:lnTo>
                    <a:pt x="1069975" y="2819400"/>
                  </a:lnTo>
                  <a:lnTo>
                    <a:pt x="2203450" y="2330450"/>
                  </a:lnTo>
                  <a:lnTo>
                    <a:pt x="2203450" y="2314575"/>
                  </a:lnTo>
                  <a:lnTo>
                    <a:pt x="2203450" y="2305050"/>
                  </a:lnTo>
                  <a:lnTo>
                    <a:pt x="1533525" y="2003425"/>
                  </a:lnTo>
                  <a:lnTo>
                    <a:pt x="1527175" y="1993900"/>
                  </a:lnTo>
                  <a:lnTo>
                    <a:pt x="1520825" y="1984375"/>
                  </a:lnTo>
                  <a:lnTo>
                    <a:pt x="1520825" y="1971675"/>
                  </a:lnTo>
                  <a:lnTo>
                    <a:pt x="1524000" y="1958975"/>
                  </a:lnTo>
                  <a:lnTo>
                    <a:pt x="1530350" y="1949450"/>
                  </a:lnTo>
                  <a:lnTo>
                    <a:pt x="1539875" y="1939925"/>
                  </a:lnTo>
                  <a:lnTo>
                    <a:pt x="1552575" y="1936750"/>
                  </a:lnTo>
                  <a:close/>
                  <a:moveTo>
                    <a:pt x="1093997" y="1385750"/>
                  </a:moveTo>
                  <a:cubicBezTo>
                    <a:pt x="1073620" y="1385750"/>
                    <a:pt x="1057352" y="1394378"/>
                    <a:pt x="1045191" y="1411632"/>
                  </a:cubicBezTo>
                  <a:cubicBezTo>
                    <a:pt x="1029908" y="1433653"/>
                    <a:pt x="1022267" y="1474325"/>
                    <a:pt x="1022267" y="1533648"/>
                  </a:cubicBezTo>
                  <a:cubicBezTo>
                    <a:pt x="1022267" y="1592972"/>
                    <a:pt x="1029210" y="1632452"/>
                    <a:pt x="1043096" y="1652090"/>
                  </a:cubicBezTo>
                  <a:cubicBezTo>
                    <a:pt x="1056982" y="1671727"/>
                    <a:pt x="1074113" y="1681546"/>
                    <a:pt x="1094490" y="1681546"/>
                  </a:cubicBezTo>
                  <a:cubicBezTo>
                    <a:pt x="1114867" y="1681546"/>
                    <a:pt x="1131999" y="1671686"/>
                    <a:pt x="1145885" y="1651966"/>
                  </a:cubicBezTo>
                  <a:cubicBezTo>
                    <a:pt x="1159771" y="1632247"/>
                    <a:pt x="1166714" y="1592807"/>
                    <a:pt x="1166714" y="1533648"/>
                  </a:cubicBezTo>
                  <a:cubicBezTo>
                    <a:pt x="1166714" y="1474160"/>
                    <a:pt x="1159771" y="1434639"/>
                    <a:pt x="1145885" y="1415083"/>
                  </a:cubicBezTo>
                  <a:cubicBezTo>
                    <a:pt x="1131999" y="1395528"/>
                    <a:pt x="1114703" y="1385750"/>
                    <a:pt x="1093997" y="1385750"/>
                  </a:cubicBezTo>
                  <a:close/>
                  <a:moveTo>
                    <a:pt x="3668996" y="1349022"/>
                  </a:moveTo>
                  <a:cubicBezTo>
                    <a:pt x="3703670" y="1349022"/>
                    <a:pt x="3731113" y="1358636"/>
                    <a:pt x="3751326" y="1377862"/>
                  </a:cubicBezTo>
                  <a:cubicBezTo>
                    <a:pt x="3771538" y="1397089"/>
                    <a:pt x="3781645" y="1420917"/>
                    <a:pt x="3781645" y="1449346"/>
                  </a:cubicBezTo>
                  <a:cubicBezTo>
                    <a:pt x="3781645" y="1463807"/>
                    <a:pt x="3778687" y="1478022"/>
                    <a:pt x="3772771" y="1491990"/>
                  </a:cubicBezTo>
                  <a:cubicBezTo>
                    <a:pt x="3766855" y="1505958"/>
                    <a:pt x="3757036" y="1520666"/>
                    <a:pt x="3743315" y="1536113"/>
                  </a:cubicBezTo>
                  <a:cubicBezTo>
                    <a:pt x="3729593" y="1551560"/>
                    <a:pt x="3706792" y="1572759"/>
                    <a:pt x="3674912" y="1599709"/>
                  </a:cubicBezTo>
                  <a:cubicBezTo>
                    <a:pt x="3648290" y="1622058"/>
                    <a:pt x="3631200" y="1637218"/>
                    <a:pt x="3623640" y="1645188"/>
                  </a:cubicBezTo>
                  <a:cubicBezTo>
                    <a:pt x="3616081" y="1653158"/>
                    <a:pt x="3609837" y="1661169"/>
                    <a:pt x="3604907" y="1669221"/>
                  </a:cubicBezTo>
                  <a:lnTo>
                    <a:pt x="3782138" y="1669221"/>
                  </a:lnTo>
                  <a:lnTo>
                    <a:pt x="3782138" y="1711865"/>
                  </a:lnTo>
                  <a:lnTo>
                    <a:pt x="3543283" y="1711865"/>
                  </a:lnTo>
                  <a:cubicBezTo>
                    <a:pt x="3542954" y="1701184"/>
                    <a:pt x="3544679" y="1690913"/>
                    <a:pt x="3548459" y="1681053"/>
                  </a:cubicBezTo>
                  <a:cubicBezTo>
                    <a:pt x="3554539" y="1664784"/>
                    <a:pt x="3564276" y="1648762"/>
                    <a:pt x="3577669" y="1632986"/>
                  </a:cubicBezTo>
                  <a:cubicBezTo>
                    <a:pt x="3591062" y="1617210"/>
                    <a:pt x="3610412" y="1598970"/>
                    <a:pt x="3635719" y="1578264"/>
                  </a:cubicBezTo>
                  <a:cubicBezTo>
                    <a:pt x="3674994" y="1546055"/>
                    <a:pt x="3701533" y="1520543"/>
                    <a:pt x="3715337" y="1501727"/>
                  </a:cubicBezTo>
                  <a:cubicBezTo>
                    <a:pt x="3729141" y="1482911"/>
                    <a:pt x="3736043" y="1465122"/>
                    <a:pt x="3736043" y="1448360"/>
                  </a:cubicBezTo>
                  <a:cubicBezTo>
                    <a:pt x="3736043" y="1430777"/>
                    <a:pt x="3729757" y="1415946"/>
                    <a:pt x="3717186" y="1403868"/>
                  </a:cubicBezTo>
                  <a:cubicBezTo>
                    <a:pt x="3704615" y="1391789"/>
                    <a:pt x="3688223" y="1385750"/>
                    <a:pt x="3668010" y="1385750"/>
                  </a:cubicBezTo>
                  <a:cubicBezTo>
                    <a:pt x="3646647" y="1385750"/>
                    <a:pt x="3629556" y="1392159"/>
                    <a:pt x="3616739" y="1404977"/>
                  </a:cubicBezTo>
                  <a:cubicBezTo>
                    <a:pt x="3603921" y="1417795"/>
                    <a:pt x="3597430" y="1435542"/>
                    <a:pt x="3597265" y="1458220"/>
                  </a:cubicBezTo>
                  <a:lnTo>
                    <a:pt x="3551663" y="1453537"/>
                  </a:lnTo>
                  <a:cubicBezTo>
                    <a:pt x="3554786" y="1419520"/>
                    <a:pt x="3566535" y="1393597"/>
                    <a:pt x="3586912" y="1375767"/>
                  </a:cubicBezTo>
                  <a:cubicBezTo>
                    <a:pt x="3607289" y="1357937"/>
                    <a:pt x="3634651" y="1349022"/>
                    <a:pt x="3668996" y="1349022"/>
                  </a:cubicBezTo>
                  <a:close/>
                  <a:moveTo>
                    <a:pt x="1094490" y="1349022"/>
                  </a:moveTo>
                  <a:cubicBezTo>
                    <a:pt x="1113881" y="1349022"/>
                    <a:pt x="1130890" y="1352925"/>
                    <a:pt x="1145515" y="1360731"/>
                  </a:cubicBezTo>
                  <a:cubicBezTo>
                    <a:pt x="1160141" y="1368536"/>
                    <a:pt x="1172219" y="1379793"/>
                    <a:pt x="1181750" y="1394501"/>
                  </a:cubicBezTo>
                  <a:cubicBezTo>
                    <a:pt x="1191281" y="1409208"/>
                    <a:pt x="1198758" y="1427121"/>
                    <a:pt x="1204181" y="1448237"/>
                  </a:cubicBezTo>
                  <a:cubicBezTo>
                    <a:pt x="1209604" y="1469354"/>
                    <a:pt x="1212316" y="1497824"/>
                    <a:pt x="1212316" y="1533648"/>
                  </a:cubicBezTo>
                  <a:cubicBezTo>
                    <a:pt x="1212316" y="1576046"/>
                    <a:pt x="1207961" y="1610267"/>
                    <a:pt x="1199251" y="1636314"/>
                  </a:cubicBezTo>
                  <a:cubicBezTo>
                    <a:pt x="1190542" y="1662360"/>
                    <a:pt x="1177519" y="1682491"/>
                    <a:pt x="1160182" y="1696706"/>
                  </a:cubicBezTo>
                  <a:cubicBezTo>
                    <a:pt x="1142845" y="1710920"/>
                    <a:pt x="1120948" y="1718028"/>
                    <a:pt x="1094490" y="1718028"/>
                  </a:cubicBezTo>
                  <a:cubicBezTo>
                    <a:pt x="1059652" y="1718028"/>
                    <a:pt x="1032291" y="1705538"/>
                    <a:pt x="1012407" y="1680560"/>
                  </a:cubicBezTo>
                  <a:cubicBezTo>
                    <a:pt x="988579" y="1650487"/>
                    <a:pt x="976665" y="1601517"/>
                    <a:pt x="976665" y="1533648"/>
                  </a:cubicBezTo>
                  <a:cubicBezTo>
                    <a:pt x="976665" y="1490922"/>
                    <a:pt x="981061" y="1456536"/>
                    <a:pt x="989853" y="1430489"/>
                  </a:cubicBezTo>
                  <a:cubicBezTo>
                    <a:pt x="998644" y="1404443"/>
                    <a:pt x="1011709" y="1384353"/>
                    <a:pt x="1029045" y="1370221"/>
                  </a:cubicBezTo>
                  <a:cubicBezTo>
                    <a:pt x="1046382" y="1356088"/>
                    <a:pt x="1068197" y="1349022"/>
                    <a:pt x="1094490" y="1349022"/>
                  </a:cubicBezTo>
                  <a:close/>
                  <a:moveTo>
                    <a:pt x="838971" y="1349022"/>
                  </a:moveTo>
                  <a:lnTo>
                    <a:pt x="867565" y="1349022"/>
                  </a:lnTo>
                  <a:lnTo>
                    <a:pt x="867565" y="1711865"/>
                  </a:lnTo>
                  <a:lnTo>
                    <a:pt x="823195" y="1711865"/>
                  </a:lnTo>
                  <a:lnTo>
                    <a:pt x="823195" y="1429134"/>
                  </a:lnTo>
                  <a:cubicBezTo>
                    <a:pt x="812514" y="1439322"/>
                    <a:pt x="798505" y="1449511"/>
                    <a:pt x="781168" y="1459699"/>
                  </a:cubicBezTo>
                  <a:cubicBezTo>
                    <a:pt x="763831" y="1469888"/>
                    <a:pt x="748260" y="1477529"/>
                    <a:pt x="734456" y="1482623"/>
                  </a:cubicBezTo>
                  <a:lnTo>
                    <a:pt x="734456" y="1439733"/>
                  </a:lnTo>
                  <a:cubicBezTo>
                    <a:pt x="759270" y="1428065"/>
                    <a:pt x="780962" y="1413933"/>
                    <a:pt x="799532" y="1397335"/>
                  </a:cubicBezTo>
                  <a:cubicBezTo>
                    <a:pt x="818101" y="1380738"/>
                    <a:pt x="831247" y="1364634"/>
                    <a:pt x="838971" y="1349022"/>
                  </a:cubicBezTo>
                  <a:close/>
                  <a:moveTo>
                    <a:pt x="3115715" y="777254"/>
                  </a:moveTo>
                  <a:lnTo>
                    <a:pt x="3144309" y="777254"/>
                  </a:lnTo>
                  <a:lnTo>
                    <a:pt x="3144309" y="1140097"/>
                  </a:lnTo>
                  <a:lnTo>
                    <a:pt x="3099939" y="1140097"/>
                  </a:lnTo>
                  <a:lnTo>
                    <a:pt x="3099939" y="857366"/>
                  </a:lnTo>
                  <a:cubicBezTo>
                    <a:pt x="3089258" y="867554"/>
                    <a:pt x="3075249" y="877743"/>
                    <a:pt x="3057912" y="887931"/>
                  </a:cubicBezTo>
                  <a:cubicBezTo>
                    <a:pt x="3040575" y="898120"/>
                    <a:pt x="3025004" y="905761"/>
                    <a:pt x="3011200" y="910855"/>
                  </a:cubicBezTo>
                  <a:lnTo>
                    <a:pt x="3011200" y="867965"/>
                  </a:lnTo>
                  <a:cubicBezTo>
                    <a:pt x="3036014" y="856297"/>
                    <a:pt x="3057706" y="842165"/>
                    <a:pt x="3076276" y="825568"/>
                  </a:cubicBezTo>
                  <a:cubicBezTo>
                    <a:pt x="3094845" y="808970"/>
                    <a:pt x="3107991" y="792866"/>
                    <a:pt x="3115715" y="777254"/>
                  </a:cubicBezTo>
                  <a:close/>
                  <a:moveTo>
                    <a:pt x="1667915" y="777254"/>
                  </a:moveTo>
                  <a:lnTo>
                    <a:pt x="1696508" y="777254"/>
                  </a:lnTo>
                  <a:lnTo>
                    <a:pt x="1696508" y="1140097"/>
                  </a:lnTo>
                  <a:lnTo>
                    <a:pt x="1652139" y="1140097"/>
                  </a:lnTo>
                  <a:lnTo>
                    <a:pt x="1652139" y="857366"/>
                  </a:lnTo>
                  <a:cubicBezTo>
                    <a:pt x="1641457" y="867554"/>
                    <a:pt x="1627448" y="877743"/>
                    <a:pt x="1610111" y="887931"/>
                  </a:cubicBezTo>
                  <a:cubicBezTo>
                    <a:pt x="1592774" y="898120"/>
                    <a:pt x="1577204" y="905761"/>
                    <a:pt x="1563400" y="910856"/>
                  </a:cubicBezTo>
                  <a:lnTo>
                    <a:pt x="1563400" y="867965"/>
                  </a:lnTo>
                  <a:cubicBezTo>
                    <a:pt x="1588214" y="856297"/>
                    <a:pt x="1609906" y="842165"/>
                    <a:pt x="1628475" y="825568"/>
                  </a:cubicBezTo>
                  <a:cubicBezTo>
                    <a:pt x="1647045" y="808970"/>
                    <a:pt x="1660191" y="792866"/>
                    <a:pt x="1667915" y="777254"/>
                  </a:cubicBezTo>
                  <a:close/>
                  <a:moveTo>
                    <a:pt x="1429790" y="777254"/>
                  </a:moveTo>
                  <a:lnTo>
                    <a:pt x="1458383" y="777254"/>
                  </a:lnTo>
                  <a:lnTo>
                    <a:pt x="1458383" y="1140097"/>
                  </a:lnTo>
                  <a:lnTo>
                    <a:pt x="1414014" y="1140097"/>
                  </a:lnTo>
                  <a:lnTo>
                    <a:pt x="1414014" y="857366"/>
                  </a:lnTo>
                  <a:cubicBezTo>
                    <a:pt x="1403332" y="867554"/>
                    <a:pt x="1389323" y="877743"/>
                    <a:pt x="1371986" y="887931"/>
                  </a:cubicBezTo>
                  <a:cubicBezTo>
                    <a:pt x="1354649" y="898120"/>
                    <a:pt x="1339079" y="905761"/>
                    <a:pt x="1325275" y="910856"/>
                  </a:cubicBezTo>
                  <a:lnTo>
                    <a:pt x="1325275" y="867965"/>
                  </a:lnTo>
                  <a:cubicBezTo>
                    <a:pt x="1350089" y="856297"/>
                    <a:pt x="1371781" y="842165"/>
                    <a:pt x="1390350" y="825568"/>
                  </a:cubicBezTo>
                  <a:cubicBezTo>
                    <a:pt x="1408919" y="808970"/>
                    <a:pt x="1422066" y="792866"/>
                    <a:pt x="1429790" y="777254"/>
                  </a:cubicBezTo>
                  <a:close/>
                  <a:moveTo>
                    <a:pt x="2449527" y="567973"/>
                  </a:moveTo>
                  <a:cubicBezTo>
                    <a:pt x="2484201" y="567973"/>
                    <a:pt x="2511644" y="577587"/>
                    <a:pt x="2531857" y="596813"/>
                  </a:cubicBezTo>
                  <a:cubicBezTo>
                    <a:pt x="2552070" y="616040"/>
                    <a:pt x="2562176" y="639868"/>
                    <a:pt x="2562176" y="668297"/>
                  </a:cubicBezTo>
                  <a:cubicBezTo>
                    <a:pt x="2562176" y="682759"/>
                    <a:pt x="2559218" y="696973"/>
                    <a:pt x="2553302" y="710941"/>
                  </a:cubicBezTo>
                  <a:cubicBezTo>
                    <a:pt x="2547386" y="724909"/>
                    <a:pt x="2537568" y="739617"/>
                    <a:pt x="2523846" y="755064"/>
                  </a:cubicBezTo>
                  <a:cubicBezTo>
                    <a:pt x="2510124" y="770511"/>
                    <a:pt x="2487323" y="791710"/>
                    <a:pt x="2455443" y="818660"/>
                  </a:cubicBezTo>
                  <a:cubicBezTo>
                    <a:pt x="2428822" y="841009"/>
                    <a:pt x="2411731" y="856169"/>
                    <a:pt x="2404172" y="864139"/>
                  </a:cubicBezTo>
                  <a:cubicBezTo>
                    <a:pt x="2396613" y="872109"/>
                    <a:pt x="2390368" y="880120"/>
                    <a:pt x="2385438" y="888172"/>
                  </a:cubicBezTo>
                  <a:lnTo>
                    <a:pt x="2562669" y="888172"/>
                  </a:lnTo>
                  <a:lnTo>
                    <a:pt x="2562669" y="930816"/>
                  </a:lnTo>
                  <a:lnTo>
                    <a:pt x="2323814" y="930816"/>
                  </a:lnTo>
                  <a:cubicBezTo>
                    <a:pt x="2323485" y="920135"/>
                    <a:pt x="2325211" y="909864"/>
                    <a:pt x="2328990" y="900004"/>
                  </a:cubicBezTo>
                  <a:cubicBezTo>
                    <a:pt x="2335071" y="883735"/>
                    <a:pt x="2344807" y="867713"/>
                    <a:pt x="2358200" y="851937"/>
                  </a:cubicBezTo>
                  <a:cubicBezTo>
                    <a:pt x="2371593" y="836161"/>
                    <a:pt x="2390943" y="817921"/>
                    <a:pt x="2416250" y="797215"/>
                  </a:cubicBezTo>
                  <a:cubicBezTo>
                    <a:pt x="2455525" y="765006"/>
                    <a:pt x="2482065" y="739494"/>
                    <a:pt x="2495869" y="720678"/>
                  </a:cubicBezTo>
                  <a:cubicBezTo>
                    <a:pt x="2509672" y="701862"/>
                    <a:pt x="2516574" y="684073"/>
                    <a:pt x="2516574" y="667311"/>
                  </a:cubicBezTo>
                  <a:cubicBezTo>
                    <a:pt x="2516574" y="649728"/>
                    <a:pt x="2510289" y="634897"/>
                    <a:pt x="2497717" y="622819"/>
                  </a:cubicBezTo>
                  <a:cubicBezTo>
                    <a:pt x="2485146" y="610740"/>
                    <a:pt x="2468754" y="604701"/>
                    <a:pt x="2448541" y="604701"/>
                  </a:cubicBezTo>
                  <a:cubicBezTo>
                    <a:pt x="2427178" y="604701"/>
                    <a:pt x="2410088" y="611110"/>
                    <a:pt x="2397270" y="623928"/>
                  </a:cubicBezTo>
                  <a:cubicBezTo>
                    <a:pt x="2384452" y="636746"/>
                    <a:pt x="2377961" y="654494"/>
                    <a:pt x="2377797" y="677171"/>
                  </a:cubicBezTo>
                  <a:lnTo>
                    <a:pt x="2332195" y="672488"/>
                  </a:lnTo>
                  <a:cubicBezTo>
                    <a:pt x="2335317" y="638471"/>
                    <a:pt x="2347067" y="612548"/>
                    <a:pt x="2367444" y="594718"/>
                  </a:cubicBezTo>
                  <a:cubicBezTo>
                    <a:pt x="2387821" y="576888"/>
                    <a:pt x="2415182" y="567973"/>
                    <a:pt x="2449527" y="567973"/>
                  </a:cubicBezTo>
                  <a:close/>
                  <a:moveTo>
                    <a:pt x="2191790" y="567973"/>
                  </a:moveTo>
                  <a:lnTo>
                    <a:pt x="2220383" y="567973"/>
                  </a:lnTo>
                  <a:lnTo>
                    <a:pt x="2220383" y="930816"/>
                  </a:lnTo>
                  <a:lnTo>
                    <a:pt x="2176014" y="930816"/>
                  </a:lnTo>
                  <a:lnTo>
                    <a:pt x="2176014" y="648084"/>
                  </a:lnTo>
                  <a:cubicBezTo>
                    <a:pt x="2165332" y="658273"/>
                    <a:pt x="2151323" y="668462"/>
                    <a:pt x="2133986" y="678650"/>
                  </a:cubicBezTo>
                  <a:cubicBezTo>
                    <a:pt x="2116649" y="688839"/>
                    <a:pt x="2101079" y="696480"/>
                    <a:pt x="2087275" y="701574"/>
                  </a:cubicBezTo>
                  <a:lnTo>
                    <a:pt x="2087275" y="658684"/>
                  </a:lnTo>
                  <a:cubicBezTo>
                    <a:pt x="2112089" y="647016"/>
                    <a:pt x="2133781" y="632884"/>
                    <a:pt x="2152350" y="616287"/>
                  </a:cubicBezTo>
                  <a:cubicBezTo>
                    <a:pt x="2170919" y="599689"/>
                    <a:pt x="2184066" y="583585"/>
                    <a:pt x="2191790" y="567973"/>
                  </a:cubicBezTo>
                  <a:close/>
                  <a:moveTo>
                    <a:pt x="2298700" y="288925"/>
                  </a:moveTo>
                  <a:lnTo>
                    <a:pt x="2197100" y="292100"/>
                  </a:lnTo>
                  <a:lnTo>
                    <a:pt x="2092325" y="298450"/>
                  </a:lnTo>
                  <a:lnTo>
                    <a:pt x="1993900" y="311150"/>
                  </a:lnTo>
                  <a:lnTo>
                    <a:pt x="1892300" y="330200"/>
                  </a:lnTo>
                  <a:lnTo>
                    <a:pt x="1797050" y="352425"/>
                  </a:lnTo>
                  <a:lnTo>
                    <a:pt x="1701800" y="377825"/>
                  </a:lnTo>
                  <a:lnTo>
                    <a:pt x="1606550" y="409575"/>
                  </a:lnTo>
                  <a:lnTo>
                    <a:pt x="1514475" y="447675"/>
                  </a:lnTo>
                  <a:lnTo>
                    <a:pt x="1425575" y="485775"/>
                  </a:lnTo>
                  <a:lnTo>
                    <a:pt x="1339850" y="530225"/>
                  </a:lnTo>
                  <a:lnTo>
                    <a:pt x="1254125" y="581025"/>
                  </a:lnTo>
                  <a:lnTo>
                    <a:pt x="1174750" y="631825"/>
                  </a:lnTo>
                  <a:lnTo>
                    <a:pt x="1095375" y="688975"/>
                  </a:lnTo>
                  <a:lnTo>
                    <a:pt x="1019175" y="746125"/>
                  </a:lnTo>
                  <a:lnTo>
                    <a:pt x="946150" y="809625"/>
                  </a:lnTo>
                  <a:lnTo>
                    <a:pt x="876300" y="876300"/>
                  </a:lnTo>
                  <a:lnTo>
                    <a:pt x="809625" y="946150"/>
                  </a:lnTo>
                  <a:lnTo>
                    <a:pt x="746125" y="1019175"/>
                  </a:lnTo>
                  <a:lnTo>
                    <a:pt x="685800" y="1095375"/>
                  </a:lnTo>
                  <a:lnTo>
                    <a:pt x="631825" y="1174750"/>
                  </a:lnTo>
                  <a:lnTo>
                    <a:pt x="577850" y="1257300"/>
                  </a:lnTo>
                  <a:lnTo>
                    <a:pt x="530225" y="1339850"/>
                  </a:lnTo>
                  <a:lnTo>
                    <a:pt x="485775" y="1428750"/>
                  </a:lnTo>
                  <a:lnTo>
                    <a:pt x="444500" y="1517650"/>
                  </a:lnTo>
                  <a:lnTo>
                    <a:pt x="409575" y="1609725"/>
                  </a:lnTo>
                  <a:lnTo>
                    <a:pt x="377825" y="1701800"/>
                  </a:lnTo>
                  <a:lnTo>
                    <a:pt x="349250" y="1797050"/>
                  </a:lnTo>
                  <a:lnTo>
                    <a:pt x="327025" y="1895475"/>
                  </a:lnTo>
                  <a:lnTo>
                    <a:pt x="311150" y="1993900"/>
                  </a:lnTo>
                  <a:lnTo>
                    <a:pt x="298450" y="2095500"/>
                  </a:lnTo>
                  <a:lnTo>
                    <a:pt x="288925" y="2197100"/>
                  </a:lnTo>
                  <a:lnTo>
                    <a:pt x="285750" y="2301875"/>
                  </a:lnTo>
                  <a:lnTo>
                    <a:pt x="288925" y="2403475"/>
                  </a:lnTo>
                  <a:lnTo>
                    <a:pt x="298450" y="2505075"/>
                  </a:lnTo>
                  <a:lnTo>
                    <a:pt x="311150" y="2606675"/>
                  </a:lnTo>
                  <a:lnTo>
                    <a:pt x="327025" y="2705100"/>
                  </a:lnTo>
                  <a:lnTo>
                    <a:pt x="349250" y="2803525"/>
                  </a:lnTo>
                  <a:lnTo>
                    <a:pt x="377825" y="2898775"/>
                  </a:lnTo>
                  <a:lnTo>
                    <a:pt x="409575" y="2990850"/>
                  </a:lnTo>
                  <a:lnTo>
                    <a:pt x="444500" y="3082925"/>
                  </a:lnTo>
                  <a:lnTo>
                    <a:pt x="485775" y="3171825"/>
                  </a:lnTo>
                  <a:lnTo>
                    <a:pt x="530225" y="3260725"/>
                  </a:lnTo>
                  <a:lnTo>
                    <a:pt x="577850" y="3343275"/>
                  </a:lnTo>
                  <a:lnTo>
                    <a:pt x="631825" y="3425825"/>
                  </a:lnTo>
                  <a:lnTo>
                    <a:pt x="685800" y="3505200"/>
                  </a:lnTo>
                  <a:lnTo>
                    <a:pt x="746125" y="3581400"/>
                  </a:lnTo>
                  <a:lnTo>
                    <a:pt x="809625" y="3654425"/>
                  </a:lnTo>
                  <a:lnTo>
                    <a:pt x="876300" y="3724275"/>
                  </a:lnTo>
                  <a:lnTo>
                    <a:pt x="946150" y="3790950"/>
                  </a:lnTo>
                  <a:lnTo>
                    <a:pt x="1019175" y="3854450"/>
                  </a:lnTo>
                  <a:lnTo>
                    <a:pt x="1095375" y="3911600"/>
                  </a:lnTo>
                  <a:lnTo>
                    <a:pt x="1174750" y="3968750"/>
                  </a:lnTo>
                  <a:lnTo>
                    <a:pt x="1254125" y="4022725"/>
                  </a:lnTo>
                  <a:lnTo>
                    <a:pt x="1339850" y="4070350"/>
                  </a:lnTo>
                  <a:lnTo>
                    <a:pt x="1425575" y="4114800"/>
                  </a:lnTo>
                  <a:lnTo>
                    <a:pt x="1514475" y="4156075"/>
                  </a:lnTo>
                  <a:lnTo>
                    <a:pt x="1606550" y="4191000"/>
                  </a:lnTo>
                  <a:lnTo>
                    <a:pt x="1701800" y="4222750"/>
                  </a:lnTo>
                  <a:lnTo>
                    <a:pt x="1797050" y="4248150"/>
                  </a:lnTo>
                  <a:lnTo>
                    <a:pt x="1892300" y="4270375"/>
                  </a:lnTo>
                  <a:lnTo>
                    <a:pt x="1993900" y="4289425"/>
                  </a:lnTo>
                  <a:lnTo>
                    <a:pt x="2092325" y="4302125"/>
                  </a:lnTo>
                  <a:lnTo>
                    <a:pt x="2197100" y="4311650"/>
                  </a:lnTo>
                  <a:lnTo>
                    <a:pt x="2298700" y="4311650"/>
                  </a:lnTo>
                  <a:lnTo>
                    <a:pt x="2403475" y="4311650"/>
                  </a:lnTo>
                  <a:lnTo>
                    <a:pt x="2505075" y="4302125"/>
                  </a:lnTo>
                  <a:lnTo>
                    <a:pt x="2606675" y="4289425"/>
                  </a:lnTo>
                  <a:lnTo>
                    <a:pt x="2705100" y="4270375"/>
                  </a:lnTo>
                  <a:lnTo>
                    <a:pt x="2803525" y="4248150"/>
                  </a:lnTo>
                  <a:lnTo>
                    <a:pt x="2898775" y="4222750"/>
                  </a:lnTo>
                  <a:lnTo>
                    <a:pt x="2990850" y="4191000"/>
                  </a:lnTo>
                  <a:lnTo>
                    <a:pt x="3082925" y="4156075"/>
                  </a:lnTo>
                  <a:lnTo>
                    <a:pt x="3171825" y="4114800"/>
                  </a:lnTo>
                  <a:lnTo>
                    <a:pt x="3257550" y="4070350"/>
                  </a:lnTo>
                  <a:lnTo>
                    <a:pt x="3343275" y="4022725"/>
                  </a:lnTo>
                  <a:lnTo>
                    <a:pt x="3425825" y="3968750"/>
                  </a:lnTo>
                  <a:lnTo>
                    <a:pt x="3502025" y="3911600"/>
                  </a:lnTo>
                  <a:lnTo>
                    <a:pt x="3578225" y="3854450"/>
                  </a:lnTo>
                  <a:lnTo>
                    <a:pt x="3651250" y="3790950"/>
                  </a:lnTo>
                  <a:lnTo>
                    <a:pt x="3721100" y="3724275"/>
                  </a:lnTo>
                  <a:lnTo>
                    <a:pt x="3787775" y="3654425"/>
                  </a:lnTo>
                  <a:lnTo>
                    <a:pt x="3851275" y="3581400"/>
                  </a:lnTo>
                  <a:lnTo>
                    <a:pt x="3911600" y="3505200"/>
                  </a:lnTo>
                  <a:lnTo>
                    <a:pt x="3968750" y="3425825"/>
                  </a:lnTo>
                  <a:lnTo>
                    <a:pt x="4019550" y="3343275"/>
                  </a:lnTo>
                  <a:lnTo>
                    <a:pt x="4067175" y="3260725"/>
                  </a:lnTo>
                  <a:lnTo>
                    <a:pt x="4111625" y="3171825"/>
                  </a:lnTo>
                  <a:lnTo>
                    <a:pt x="4152900" y="3082925"/>
                  </a:lnTo>
                  <a:lnTo>
                    <a:pt x="4187825" y="2990850"/>
                  </a:lnTo>
                  <a:lnTo>
                    <a:pt x="4219575" y="2898775"/>
                  </a:lnTo>
                  <a:lnTo>
                    <a:pt x="4248150" y="2803525"/>
                  </a:lnTo>
                  <a:lnTo>
                    <a:pt x="4270375" y="2705100"/>
                  </a:lnTo>
                  <a:lnTo>
                    <a:pt x="4289425" y="2606675"/>
                  </a:lnTo>
                  <a:lnTo>
                    <a:pt x="4302125" y="2505075"/>
                  </a:lnTo>
                  <a:lnTo>
                    <a:pt x="4308475" y="2403475"/>
                  </a:lnTo>
                  <a:lnTo>
                    <a:pt x="4311650" y="2301875"/>
                  </a:lnTo>
                  <a:lnTo>
                    <a:pt x="4308475" y="2197100"/>
                  </a:lnTo>
                  <a:lnTo>
                    <a:pt x="4302125" y="2095500"/>
                  </a:lnTo>
                  <a:lnTo>
                    <a:pt x="4289425" y="1993900"/>
                  </a:lnTo>
                  <a:lnTo>
                    <a:pt x="4270375" y="1895475"/>
                  </a:lnTo>
                  <a:lnTo>
                    <a:pt x="4248150" y="1797050"/>
                  </a:lnTo>
                  <a:lnTo>
                    <a:pt x="4219575" y="1701800"/>
                  </a:lnTo>
                  <a:lnTo>
                    <a:pt x="4187825" y="1609725"/>
                  </a:lnTo>
                  <a:lnTo>
                    <a:pt x="4152900" y="1517650"/>
                  </a:lnTo>
                  <a:lnTo>
                    <a:pt x="4111625" y="1428750"/>
                  </a:lnTo>
                  <a:lnTo>
                    <a:pt x="4067175" y="1339850"/>
                  </a:lnTo>
                  <a:lnTo>
                    <a:pt x="4019550" y="1257300"/>
                  </a:lnTo>
                  <a:lnTo>
                    <a:pt x="3968750" y="1174750"/>
                  </a:lnTo>
                  <a:lnTo>
                    <a:pt x="3911600" y="1095375"/>
                  </a:lnTo>
                  <a:lnTo>
                    <a:pt x="3851275" y="1019175"/>
                  </a:lnTo>
                  <a:lnTo>
                    <a:pt x="3787775" y="946150"/>
                  </a:lnTo>
                  <a:lnTo>
                    <a:pt x="3721100" y="876300"/>
                  </a:lnTo>
                  <a:lnTo>
                    <a:pt x="3651250" y="809625"/>
                  </a:lnTo>
                  <a:lnTo>
                    <a:pt x="3578225" y="746125"/>
                  </a:lnTo>
                  <a:lnTo>
                    <a:pt x="3502025" y="688975"/>
                  </a:lnTo>
                  <a:lnTo>
                    <a:pt x="3425825" y="631825"/>
                  </a:lnTo>
                  <a:lnTo>
                    <a:pt x="3343275" y="581025"/>
                  </a:lnTo>
                  <a:lnTo>
                    <a:pt x="3257550" y="530225"/>
                  </a:lnTo>
                  <a:lnTo>
                    <a:pt x="3171825" y="485775"/>
                  </a:lnTo>
                  <a:lnTo>
                    <a:pt x="3082925" y="447675"/>
                  </a:lnTo>
                  <a:lnTo>
                    <a:pt x="2990850" y="409575"/>
                  </a:lnTo>
                  <a:lnTo>
                    <a:pt x="2898775" y="377825"/>
                  </a:lnTo>
                  <a:lnTo>
                    <a:pt x="2803525" y="352425"/>
                  </a:lnTo>
                  <a:lnTo>
                    <a:pt x="2705100" y="330200"/>
                  </a:lnTo>
                  <a:lnTo>
                    <a:pt x="2606675" y="311150"/>
                  </a:lnTo>
                  <a:lnTo>
                    <a:pt x="2505075" y="298450"/>
                  </a:lnTo>
                  <a:lnTo>
                    <a:pt x="2403475" y="292100"/>
                  </a:lnTo>
                  <a:lnTo>
                    <a:pt x="2298700" y="288925"/>
                  </a:lnTo>
                  <a:close/>
                  <a:moveTo>
                    <a:pt x="1146175" y="0"/>
                  </a:moveTo>
                  <a:lnTo>
                    <a:pt x="1285875" y="0"/>
                  </a:lnTo>
                  <a:lnTo>
                    <a:pt x="1454150" y="0"/>
                  </a:lnTo>
                  <a:lnTo>
                    <a:pt x="3175000" y="0"/>
                  </a:lnTo>
                  <a:lnTo>
                    <a:pt x="3343275" y="0"/>
                  </a:lnTo>
                  <a:lnTo>
                    <a:pt x="3482975" y="0"/>
                  </a:lnTo>
                  <a:lnTo>
                    <a:pt x="3562350" y="3175"/>
                  </a:lnTo>
                  <a:lnTo>
                    <a:pt x="3638550" y="9525"/>
                  </a:lnTo>
                  <a:lnTo>
                    <a:pt x="3714750" y="15875"/>
                  </a:lnTo>
                  <a:lnTo>
                    <a:pt x="3787775" y="28575"/>
                  </a:lnTo>
                  <a:lnTo>
                    <a:pt x="3860800" y="44450"/>
                  </a:lnTo>
                  <a:lnTo>
                    <a:pt x="3933825" y="63500"/>
                  </a:lnTo>
                  <a:lnTo>
                    <a:pt x="4003675" y="88900"/>
                  </a:lnTo>
                  <a:lnTo>
                    <a:pt x="4076700" y="120650"/>
                  </a:lnTo>
                  <a:lnTo>
                    <a:pt x="4108450" y="139700"/>
                  </a:lnTo>
                  <a:lnTo>
                    <a:pt x="4143375" y="158750"/>
                  </a:lnTo>
                  <a:lnTo>
                    <a:pt x="4206875" y="203200"/>
                  </a:lnTo>
                  <a:lnTo>
                    <a:pt x="4267200" y="254000"/>
                  </a:lnTo>
                  <a:lnTo>
                    <a:pt x="4324350" y="304800"/>
                  </a:lnTo>
                  <a:lnTo>
                    <a:pt x="4375150" y="361950"/>
                  </a:lnTo>
                  <a:lnTo>
                    <a:pt x="4425950" y="422275"/>
                  </a:lnTo>
                  <a:lnTo>
                    <a:pt x="4470400" y="485775"/>
                  </a:lnTo>
                  <a:lnTo>
                    <a:pt x="4489450" y="517525"/>
                  </a:lnTo>
                  <a:lnTo>
                    <a:pt x="4508500" y="552450"/>
                  </a:lnTo>
                  <a:lnTo>
                    <a:pt x="4540250" y="622300"/>
                  </a:lnTo>
                  <a:lnTo>
                    <a:pt x="4565650" y="695325"/>
                  </a:lnTo>
                  <a:lnTo>
                    <a:pt x="4584700" y="768350"/>
                  </a:lnTo>
                  <a:lnTo>
                    <a:pt x="4600575" y="841375"/>
                  </a:lnTo>
                  <a:lnTo>
                    <a:pt x="4613275" y="914400"/>
                  </a:lnTo>
                  <a:lnTo>
                    <a:pt x="4619625" y="990600"/>
                  </a:lnTo>
                  <a:lnTo>
                    <a:pt x="4625975" y="1066800"/>
                  </a:lnTo>
                  <a:lnTo>
                    <a:pt x="4625975" y="1146175"/>
                  </a:lnTo>
                  <a:lnTo>
                    <a:pt x="4629150" y="1282700"/>
                  </a:lnTo>
                  <a:lnTo>
                    <a:pt x="4629150" y="1454150"/>
                  </a:lnTo>
                  <a:lnTo>
                    <a:pt x="4629150" y="3175000"/>
                  </a:lnTo>
                  <a:lnTo>
                    <a:pt x="4629150" y="3343275"/>
                  </a:lnTo>
                  <a:lnTo>
                    <a:pt x="4625975" y="3482975"/>
                  </a:lnTo>
                  <a:lnTo>
                    <a:pt x="4625975" y="3562350"/>
                  </a:lnTo>
                  <a:lnTo>
                    <a:pt x="4619625" y="3638550"/>
                  </a:lnTo>
                  <a:lnTo>
                    <a:pt x="4613275" y="3714750"/>
                  </a:lnTo>
                  <a:lnTo>
                    <a:pt x="4600575" y="3787775"/>
                  </a:lnTo>
                  <a:lnTo>
                    <a:pt x="4584700" y="3860800"/>
                  </a:lnTo>
                  <a:lnTo>
                    <a:pt x="4565650" y="3933825"/>
                  </a:lnTo>
                  <a:lnTo>
                    <a:pt x="4540250" y="4003675"/>
                  </a:lnTo>
                  <a:lnTo>
                    <a:pt x="4508500" y="4073525"/>
                  </a:lnTo>
                  <a:lnTo>
                    <a:pt x="4489450" y="4108450"/>
                  </a:lnTo>
                  <a:lnTo>
                    <a:pt x="4470400" y="4143375"/>
                  </a:lnTo>
                  <a:lnTo>
                    <a:pt x="4425950" y="4206875"/>
                  </a:lnTo>
                  <a:lnTo>
                    <a:pt x="4375150" y="4267200"/>
                  </a:lnTo>
                  <a:lnTo>
                    <a:pt x="4324350" y="4324350"/>
                  </a:lnTo>
                  <a:lnTo>
                    <a:pt x="4267200" y="4375150"/>
                  </a:lnTo>
                  <a:lnTo>
                    <a:pt x="4206875" y="4425950"/>
                  </a:lnTo>
                  <a:lnTo>
                    <a:pt x="4143375" y="4470400"/>
                  </a:lnTo>
                  <a:lnTo>
                    <a:pt x="4108450" y="4489450"/>
                  </a:lnTo>
                  <a:lnTo>
                    <a:pt x="4076700" y="4508500"/>
                  </a:lnTo>
                  <a:lnTo>
                    <a:pt x="4003675" y="4540250"/>
                  </a:lnTo>
                  <a:lnTo>
                    <a:pt x="3933825" y="4565650"/>
                  </a:lnTo>
                  <a:lnTo>
                    <a:pt x="3860800" y="4584700"/>
                  </a:lnTo>
                  <a:lnTo>
                    <a:pt x="3787775" y="4600575"/>
                  </a:lnTo>
                  <a:lnTo>
                    <a:pt x="3714750" y="4613275"/>
                  </a:lnTo>
                  <a:lnTo>
                    <a:pt x="3638550" y="4619625"/>
                  </a:lnTo>
                  <a:lnTo>
                    <a:pt x="3562350" y="4625975"/>
                  </a:lnTo>
                  <a:lnTo>
                    <a:pt x="3482975" y="4625975"/>
                  </a:lnTo>
                  <a:lnTo>
                    <a:pt x="3343275" y="4629150"/>
                  </a:lnTo>
                  <a:lnTo>
                    <a:pt x="3175000" y="4629150"/>
                  </a:lnTo>
                  <a:lnTo>
                    <a:pt x="1454150" y="4629150"/>
                  </a:lnTo>
                  <a:lnTo>
                    <a:pt x="1285875" y="4629150"/>
                  </a:lnTo>
                  <a:lnTo>
                    <a:pt x="1146175" y="4625975"/>
                  </a:lnTo>
                  <a:lnTo>
                    <a:pt x="1066800" y="4625975"/>
                  </a:lnTo>
                  <a:lnTo>
                    <a:pt x="990600" y="4619625"/>
                  </a:lnTo>
                  <a:lnTo>
                    <a:pt x="914400" y="4613275"/>
                  </a:lnTo>
                  <a:lnTo>
                    <a:pt x="841375" y="4600575"/>
                  </a:lnTo>
                  <a:lnTo>
                    <a:pt x="768350" y="4584700"/>
                  </a:lnTo>
                  <a:lnTo>
                    <a:pt x="695325" y="4565650"/>
                  </a:lnTo>
                  <a:lnTo>
                    <a:pt x="625475" y="4540250"/>
                  </a:lnTo>
                  <a:lnTo>
                    <a:pt x="555625" y="4508500"/>
                  </a:lnTo>
                  <a:lnTo>
                    <a:pt x="520700" y="4489450"/>
                  </a:lnTo>
                  <a:lnTo>
                    <a:pt x="485775" y="4470400"/>
                  </a:lnTo>
                  <a:lnTo>
                    <a:pt x="422275" y="4425950"/>
                  </a:lnTo>
                  <a:lnTo>
                    <a:pt x="361950" y="4375150"/>
                  </a:lnTo>
                  <a:lnTo>
                    <a:pt x="304800" y="4324350"/>
                  </a:lnTo>
                  <a:lnTo>
                    <a:pt x="254000" y="4267200"/>
                  </a:lnTo>
                  <a:lnTo>
                    <a:pt x="203200" y="4206875"/>
                  </a:lnTo>
                  <a:lnTo>
                    <a:pt x="158750" y="4143375"/>
                  </a:lnTo>
                  <a:lnTo>
                    <a:pt x="139700" y="4108450"/>
                  </a:lnTo>
                  <a:lnTo>
                    <a:pt x="120650" y="4073525"/>
                  </a:lnTo>
                  <a:lnTo>
                    <a:pt x="88900" y="4003675"/>
                  </a:lnTo>
                  <a:lnTo>
                    <a:pt x="63500" y="3933825"/>
                  </a:lnTo>
                  <a:lnTo>
                    <a:pt x="44450" y="3860800"/>
                  </a:lnTo>
                  <a:lnTo>
                    <a:pt x="28575" y="3787775"/>
                  </a:lnTo>
                  <a:lnTo>
                    <a:pt x="15875" y="3714750"/>
                  </a:lnTo>
                  <a:lnTo>
                    <a:pt x="9525" y="3638550"/>
                  </a:lnTo>
                  <a:lnTo>
                    <a:pt x="3175" y="3562350"/>
                  </a:lnTo>
                  <a:lnTo>
                    <a:pt x="3175" y="3482975"/>
                  </a:lnTo>
                  <a:lnTo>
                    <a:pt x="0" y="3343275"/>
                  </a:lnTo>
                  <a:lnTo>
                    <a:pt x="0" y="3175000"/>
                  </a:lnTo>
                  <a:lnTo>
                    <a:pt x="0" y="1454150"/>
                  </a:lnTo>
                  <a:lnTo>
                    <a:pt x="0" y="1282700"/>
                  </a:lnTo>
                  <a:lnTo>
                    <a:pt x="3175" y="1146175"/>
                  </a:lnTo>
                  <a:lnTo>
                    <a:pt x="3175" y="1066800"/>
                  </a:lnTo>
                  <a:lnTo>
                    <a:pt x="9525" y="990600"/>
                  </a:lnTo>
                  <a:lnTo>
                    <a:pt x="15875" y="914400"/>
                  </a:lnTo>
                  <a:lnTo>
                    <a:pt x="28575" y="841375"/>
                  </a:lnTo>
                  <a:lnTo>
                    <a:pt x="44450" y="768350"/>
                  </a:lnTo>
                  <a:lnTo>
                    <a:pt x="63500" y="695325"/>
                  </a:lnTo>
                  <a:lnTo>
                    <a:pt x="88900" y="622300"/>
                  </a:lnTo>
                  <a:lnTo>
                    <a:pt x="120650" y="552450"/>
                  </a:lnTo>
                  <a:lnTo>
                    <a:pt x="139700" y="517525"/>
                  </a:lnTo>
                  <a:lnTo>
                    <a:pt x="158750" y="485775"/>
                  </a:lnTo>
                  <a:lnTo>
                    <a:pt x="203200" y="422275"/>
                  </a:lnTo>
                  <a:lnTo>
                    <a:pt x="254000" y="361950"/>
                  </a:lnTo>
                  <a:lnTo>
                    <a:pt x="304800" y="304800"/>
                  </a:lnTo>
                  <a:lnTo>
                    <a:pt x="361950" y="254000"/>
                  </a:lnTo>
                  <a:lnTo>
                    <a:pt x="422275" y="203200"/>
                  </a:lnTo>
                  <a:lnTo>
                    <a:pt x="485775" y="158750"/>
                  </a:lnTo>
                  <a:lnTo>
                    <a:pt x="520700" y="139700"/>
                  </a:lnTo>
                  <a:lnTo>
                    <a:pt x="555625" y="120650"/>
                  </a:lnTo>
                  <a:lnTo>
                    <a:pt x="625475" y="88900"/>
                  </a:lnTo>
                  <a:lnTo>
                    <a:pt x="695325" y="63500"/>
                  </a:lnTo>
                  <a:lnTo>
                    <a:pt x="768350" y="44450"/>
                  </a:lnTo>
                  <a:lnTo>
                    <a:pt x="841375" y="28575"/>
                  </a:lnTo>
                  <a:lnTo>
                    <a:pt x="914400" y="15875"/>
                  </a:lnTo>
                  <a:lnTo>
                    <a:pt x="990600" y="9525"/>
                  </a:lnTo>
                  <a:lnTo>
                    <a:pt x="1066800" y="3175"/>
                  </a:lnTo>
                  <a:lnTo>
                    <a:pt x="11461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073856" y="2511360"/>
            <a:ext cx="1439232" cy="1439232"/>
            <a:chOff x="4073856" y="2511360"/>
            <a:chExt cx="1439232" cy="1439232"/>
          </a:xfrm>
        </p:grpSpPr>
        <p:sp>
          <p:nvSpPr>
            <p:cNvPr id="10" name="îSlïde"/>
            <p:cNvSpPr/>
            <p:nvPr/>
          </p:nvSpPr>
          <p:spPr bwMode="auto">
            <a:xfrm rot="2700000">
              <a:off x="4073856" y="2511360"/>
              <a:ext cx="1439232" cy="1439232"/>
            </a:xfrm>
            <a:prstGeom prst="roundRect">
              <a:avLst>
                <a:gd name="adj" fmla="val 4945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2" name="í$1ïḋè"/>
            <p:cNvSpPr/>
            <p:nvPr/>
          </p:nvSpPr>
          <p:spPr bwMode="auto">
            <a:xfrm>
              <a:off x="4487123" y="2939434"/>
              <a:ext cx="612698" cy="583084"/>
            </a:xfrm>
            <a:custGeom>
              <a:avLst/>
              <a:gdLst>
                <a:gd name="T0" fmla="*/ 2147483646 w 5871"/>
                <a:gd name="T1" fmla="*/ 2147483646 h 5585"/>
                <a:gd name="T2" fmla="*/ 2147483646 w 5871"/>
                <a:gd name="T3" fmla="*/ 2147483646 h 5585"/>
                <a:gd name="T4" fmla="*/ 2147483646 w 5871"/>
                <a:gd name="T5" fmla="*/ 2147483646 h 5585"/>
                <a:gd name="T6" fmla="*/ 2147483646 w 5871"/>
                <a:gd name="T7" fmla="*/ 2147483646 h 5585"/>
                <a:gd name="T8" fmla="*/ 2147483646 w 5871"/>
                <a:gd name="T9" fmla="*/ 2147483646 h 5585"/>
                <a:gd name="T10" fmla="*/ 2147483646 w 5871"/>
                <a:gd name="T11" fmla="*/ 2147483646 h 5585"/>
                <a:gd name="T12" fmla="*/ 2147483646 w 5871"/>
                <a:gd name="T13" fmla="*/ 2147483646 h 5585"/>
                <a:gd name="T14" fmla="*/ 2147483646 w 5871"/>
                <a:gd name="T15" fmla="*/ 2147483646 h 5585"/>
                <a:gd name="T16" fmla="*/ 2147483646 w 5871"/>
                <a:gd name="T17" fmla="*/ 2147483646 h 5585"/>
                <a:gd name="T18" fmla="*/ 2147483646 w 5871"/>
                <a:gd name="T19" fmla="*/ 2147483646 h 5585"/>
                <a:gd name="T20" fmla="*/ 2147483646 w 5871"/>
                <a:gd name="T21" fmla="*/ 2147483646 h 5585"/>
                <a:gd name="T22" fmla="*/ 2147483646 w 5871"/>
                <a:gd name="T23" fmla="*/ 2147483646 h 5585"/>
                <a:gd name="T24" fmla="*/ 2147483646 w 5871"/>
                <a:gd name="T25" fmla="*/ 2147483646 h 5585"/>
                <a:gd name="T26" fmla="*/ 2147483646 w 5871"/>
                <a:gd name="T27" fmla="*/ 2147483646 h 5585"/>
                <a:gd name="T28" fmla="*/ 2147483646 w 5871"/>
                <a:gd name="T29" fmla="*/ 2147483646 h 5585"/>
                <a:gd name="T30" fmla="*/ 2147483646 w 5871"/>
                <a:gd name="T31" fmla="*/ 2147483646 h 5585"/>
                <a:gd name="T32" fmla="*/ 2147483646 w 5871"/>
                <a:gd name="T33" fmla="*/ 2147483646 h 5585"/>
                <a:gd name="T34" fmla="*/ 2147483646 w 5871"/>
                <a:gd name="T35" fmla="*/ 2147483646 h 5585"/>
                <a:gd name="T36" fmla="*/ 2147483646 w 5871"/>
                <a:gd name="T37" fmla="*/ 2147483646 h 5585"/>
                <a:gd name="T38" fmla="*/ 2147483646 w 5871"/>
                <a:gd name="T39" fmla="*/ 2147483646 h 5585"/>
                <a:gd name="T40" fmla="*/ 2147483646 w 5871"/>
                <a:gd name="T41" fmla="*/ 2147483646 h 5585"/>
                <a:gd name="T42" fmla="*/ 2147483646 w 5871"/>
                <a:gd name="T43" fmla="*/ 2147483646 h 5585"/>
                <a:gd name="T44" fmla="*/ 2147483646 w 5871"/>
                <a:gd name="T45" fmla="*/ 2147483646 h 5585"/>
                <a:gd name="T46" fmla="*/ 2147483646 w 5871"/>
                <a:gd name="T47" fmla="*/ 2147483646 h 5585"/>
                <a:gd name="T48" fmla="*/ 2147483646 w 5871"/>
                <a:gd name="T49" fmla="*/ 2147483646 h 5585"/>
                <a:gd name="T50" fmla="*/ 2147483646 w 5871"/>
                <a:gd name="T51" fmla="*/ 2147483646 h 5585"/>
                <a:gd name="T52" fmla="*/ 2147483646 w 5871"/>
                <a:gd name="T53" fmla="*/ 2147483646 h 5585"/>
                <a:gd name="T54" fmla="*/ 2147483646 w 5871"/>
                <a:gd name="T55" fmla="*/ 2147483646 h 5585"/>
                <a:gd name="T56" fmla="*/ 2147483646 w 5871"/>
                <a:gd name="T57" fmla="*/ 2147483646 h 5585"/>
                <a:gd name="T58" fmla="*/ 2147483646 w 5871"/>
                <a:gd name="T59" fmla="*/ 2147483646 h 5585"/>
                <a:gd name="T60" fmla="*/ 2147483646 w 5871"/>
                <a:gd name="T61" fmla="*/ 2147483646 h 5585"/>
                <a:gd name="T62" fmla="*/ 2147483646 w 5871"/>
                <a:gd name="T63" fmla="*/ 2147483646 h 5585"/>
                <a:gd name="T64" fmla="*/ 2147483646 w 5871"/>
                <a:gd name="T65" fmla="*/ 2147483646 h 5585"/>
                <a:gd name="T66" fmla="*/ 2147483646 w 5871"/>
                <a:gd name="T67" fmla="*/ 2147483646 h 5585"/>
                <a:gd name="T68" fmla="*/ 2147483646 w 5871"/>
                <a:gd name="T69" fmla="*/ 2147483646 h 5585"/>
                <a:gd name="T70" fmla="*/ 2147483646 w 5871"/>
                <a:gd name="T71" fmla="*/ 2147483646 h 5585"/>
                <a:gd name="T72" fmla="*/ 2147483646 w 5871"/>
                <a:gd name="T73" fmla="*/ 2147483646 h 5585"/>
                <a:gd name="T74" fmla="*/ 2147483646 w 5871"/>
                <a:gd name="T75" fmla="*/ 2147483646 h 5585"/>
                <a:gd name="T76" fmla="*/ 2147483646 w 5871"/>
                <a:gd name="T77" fmla="*/ 2147483646 h 5585"/>
                <a:gd name="T78" fmla="*/ 2147483646 w 5871"/>
                <a:gd name="T79" fmla="*/ 2147483646 h 5585"/>
                <a:gd name="T80" fmla="*/ 2147483646 w 5871"/>
                <a:gd name="T81" fmla="*/ 2147483646 h 5585"/>
                <a:gd name="T82" fmla="*/ 2147483646 w 5871"/>
                <a:gd name="T83" fmla="*/ 2147483646 h 5585"/>
                <a:gd name="T84" fmla="*/ 2147483646 w 5871"/>
                <a:gd name="T85" fmla="*/ 2147483646 h 5585"/>
                <a:gd name="T86" fmla="*/ 2147483646 w 5871"/>
                <a:gd name="T87" fmla="*/ 2147483646 h 5585"/>
                <a:gd name="T88" fmla="*/ 2147483646 w 5871"/>
                <a:gd name="T89" fmla="*/ 2147483646 h 5585"/>
                <a:gd name="T90" fmla="*/ 2147483646 w 5871"/>
                <a:gd name="T91" fmla="*/ 2147483646 h 5585"/>
                <a:gd name="T92" fmla="*/ 2147483646 w 5871"/>
                <a:gd name="T93" fmla="*/ 2147483646 h 5585"/>
                <a:gd name="T94" fmla="*/ 2147483646 w 5871"/>
                <a:gd name="T95" fmla="*/ 2147483646 h 5585"/>
                <a:gd name="T96" fmla="*/ 2147483646 w 5871"/>
                <a:gd name="T97" fmla="*/ 2147483646 h 5585"/>
                <a:gd name="T98" fmla="*/ 2147483646 w 5871"/>
                <a:gd name="T99" fmla="*/ 2147483646 h 5585"/>
                <a:gd name="T100" fmla="*/ 2147483646 w 5871"/>
                <a:gd name="T101" fmla="*/ 2147483646 h 5585"/>
                <a:gd name="T102" fmla="*/ 2147483646 w 5871"/>
                <a:gd name="T103" fmla="*/ 2147483646 h 5585"/>
                <a:gd name="T104" fmla="*/ 0 w 5871"/>
                <a:gd name="T105" fmla="*/ 2147483646 h 5585"/>
                <a:gd name="T106" fmla="*/ 2147483646 w 5871"/>
                <a:gd name="T107" fmla="*/ 0 h 5585"/>
                <a:gd name="T108" fmla="*/ 2147483646 w 5871"/>
                <a:gd name="T109" fmla="*/ 2147483646 h 5585"/>
                <a:gd name="T110" fmla="*/ 2147483646 w 5871"/>
                <a:gd name="T111" fmla="*/ 2147483646 h 55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871" h="5585">
                  <a:moveTo>
                    <a:pt x="774" y="374"/>
                  </a:moveTo>
                  <a:lnTo>
                    <a:pt x="774" y="1910"/>
                  </a:lnTo>
                  <a:lnTo>
                    <a:pt x="5107" y="1910"/>
                  </a:lnTo>
                  <a:lnTo>
                    <a:pt x="5107" y="374"/>
                  </a:lnTo>
                  <a:lnTo>
                    <a:pt x="774" y="374"/>
                  </a:lnTo>
                  <a:close/>
                  <a:moveTo>
                    <a:pt x="1597" y="3265"/>
                  </a:moveTo>
                  <a:lnTo>
                    <a:pt x="1597" y="3265"/>
                  </a:lnTo>
                  <a:lnTo>
                    <a:pt x="1591" y="3265"/>
                  </a:lnTo>
                  <a:lnTo>
                    <a:pt x="1587" y="3265"/>
                  </a:lnTo>
                  <a:lnTo>
                    <a:pt x="1586" y="3265"/>
                  </a:lnTo>
                  <a:lnTo>
                    <a:pt x="1581" y="3265"/>
                  </a:lnTo>
                  <a:lnTo>
                    <a:pt x="1576" y="3265"/>
                  </a:lnTo>
                  <a:lnTo>
                    <a:pt x="1571" y="3265"/>
                  </a:lnTo>
                  <a:lnTo>
                    <a:pt x="1570" y="3265"/>
                  </a:lnTo>
                  <a:lnTo>
                    <a:pt x="1566" y="3265"/>
                  </a:lnTo>
                  <a:lnTo>
                    <a:pt x="1560" y="3265"/>
                  </a:lnTo>
                  <a:lnTo>
                    <a:pt x="1555" y="3265"/>
                  </a:lnTo>
                  <a:lnTo>
                    <a:pt x="1550" y="3265"/>
                  </a:lnTo>
                  <a:lnTo>
                    <a:pt x="1545" y="3265"/>
                  </a:lnTo>
                  <a:lnTo>
                    <a:pt x="1540" y="3265"/>
                  </a:lnTo>
                  <a:lnTo>
                    <a:pt x="1539" y="3265"/>
                  </a:lnTo>
                  <a:lnTo>
                    <a:pt x="1535" y="3265"/>
                  </a:lnTo>
                  <a:lnTo>
                    <a:pt x="1529" y="3265"/>
                  </a:lnTo>
                  <a:lnTo>
                    <a:pt x="1525" y="3265"/>
                  </a:lnTo>
                  <a:lnTo>
                    <a:pt x="1524" y="3265"/>
                  </a:lnTo>
                  <a:lnTo>
                    <a:pt x="1519" y="3265"/>
                  </a:lnTo>
                  <a:lnTo>
                    <a:pt x="1514" y="3265"/>
                  </a:lnTo>
                  <a:lnTo>
                    <a:pt x="1509" y="3265"/>
                  </a:lnTo>
                  <a:lnTo>
                    <a:pt x="1508" y="3265"/>
                  </a:lnTo>
                  <a:lnTo>
                    <a:pt x="1504" y="3265"/>
                  </a:lnTo>
                  <a:lnTo>
                    <a:pt x="1498" y="3265"/>
                  </a:lnTo>
                  <a:lnTo>
                    <a:pt x="1494" y="3265"/>
                  </a:lnTo>
                  <a:lnTo>
                    <a:pt x="1493" y="3265"/>
                  </a:lnTo>
                  <a:lnTo>
                    <a:pt x="1488" y="3265"/>
                  </a:lnTo>
                  <a:lnTo>
                    <a:pt x="1483" y="3265"/>
                  </a:lnTo>
                  <a:lnTo>
                    <a:pt x="1478" y="3265"/>
                  </a:lnTo>
                  <a:lnTo>
                    <a:pt x="1477" y="3265"/>
                  </a:lnTo>
                  <a:lnTo>
                    <a:pt x="1473" y="3265"/>
                  </a:lnTo>
                  <a:lnTo>
                    <a:pt x="1467" y="3265"/>
                  </a:lnTo>
                  <a:lnTo>
                    <a:pt x="1463" y="3265"/>
                  </a:lnTo>
                  <a:lnTo>
                    <a:pt x="1462" y="3265"/>
                  </a:lnTo>
                  <a:lnTo>
                    <a:pt x="1457" y="3265"/>
                  </a:lnTo>
                  <a:lnTo>
                    <a:pt x="1452" y="3265"/>
                  </a:lnTo>
                  <a:lnTo>
                    <a:pt x="1446" y="3265"/>
                  </a:lnTo>
                  <a:lnTo>
                    <a:pt x="1442" y="3265"/>
                  </a:lnTo>
                  <a:lnTo>
                    <a:pt x="1266" y="3265"/>
                  </a:lnTo>
                  <a:lnTo>
                    <a:pt x="1345" y="3830"/>
                  </a:lnTo>
                  <a:lnTo>
                    <a:pt x="1294" y="3911"/>
                  </a:lnTo>
                  <a:lnTo>
                    <a:pt x="1345" y="3977"/>
                  </a:lnTo>
                  <a:lnTo>
                    <a:pt x="1117" y="4116"/>
                  </a:lnTo>
                  <a:lnTo>
                    <a:pt x="1112" y="4144"/>
                  </a:lnTo>
                  <a:lnTo>
                    <a:pt x="1106" y="4173"/>
                  </a:lnTo>
                  <a:lnTo>
                    <a:pt x="1103" y="4201"/>
                  </a:lnTo>
                  <a:lnTo>
                    <a:pt x="1099" y="4228"/>
                  </a:lnTo>
                  <a:lnTo>
                    <a:pt x="1097" y="4255"/>
                  </a:lnTo>
                  <a:lnTo>
                    <a:pt x="1096" y="4281"/>
                  </a:lnTo>
                  <a:lnTo>
                    <a:pt x="1096" y="4308"/>
                  </a:lnTo>
                  <a:lnTo>
                    <a:pt x="1096" y="4333"/>
                  </a:lnTo>
                  <a:lnTo>
                    <a:pt x="1097" y="4359"/>
                  </a:lnTo>
                  <a:lnTo>
                    <a:pt x="1098" y="4383"/>
                  </a:lnTo>
                  <a:lnTo>
                    <a:pt x="1100" y="4407"/>
                  </a:lnTo>
                  <a:lnTo>
                    <a:pt x="1104" y="4432"/>
                  </a:lnTo>
                  <a:lnTo>
                    <a:pt x="1112" y="4478"/>
                  </a:lnTo>
                  <a:lnTo>
                    <a:pt x="1121" y="4523"/>
                  </a:lnTo>
                  <a:lnTo>
                    <a:pt x="1133" y="4568"/>
                  </a:lnTo>
                  <a:lnTo>
                    <a:pt x="1147" y="4611"/>
                  </a:lnTo>
                  <a:lnTo>
                    <a:pt x="1162" y="4653"/>
                  </a:lnTo>
                  <a:lnTo>
                    <a:pt x="1179" y="4694"/>
                  </a:lnTo>
                  <a:lnTo>
                    <a:pt x="1198" y="4733"/>
                  </a:lnTo>
                  <a:lnTo>
                    <a:pt x="1218" y="4772"/>
                  </a:lnTo>
                  <a:lnTo>
                    <a:pt x="1238" y="4812"/>
                  </a:lnTo>
                  <a:lnTo>
                    <a:pt x="1259" y="4849"/>
                  </a:lnTo>
                  <a:lnTo>
                    <a:pt x="774" y="4849"/>
                  </a:lnTo>
                  <a:lnTo>
                    <a:pt x="774" y="2135"/>
                  </a:lnTo>
                  <a:lnTo>
                    <a:pt x="2185" y="2135"/>
                  </a:lnTo>
                  <a:lnTo>
                    <a:pt x="2185" y="4849"/>
                  </a:lnTo>
                  <a:lnTo>
                    <a:pt x="1780" y="4849"/>
                  </a:lnTo>
                  <a:lnTo>
                    <a:pt x="1801" y="4812"/>
                  </a:lnTo>
                  <a:lnTo>
                    <a:pt x="1821" y="4772"/>
                  </a:lnTo>
                  <a:lnTo>
                    <a:pt x="1841" y="4733"/>
                  </a:lnTo>
                  <a:lnTo>
                    <a:pt x="1859" y="4694"/>
                  </a:lnTo>
                  <a:lnTo>
                    <a:pt x="1876" y="4653"/>
                  </a:lnTo>
                  <a:lnTo>
                    <a:pt x="1892" y="4611"/>
                  </a:lnTo>
                  <a:lnTo>
                    <a:pt x="1905" y="4568"/>
                  </a:lnTo>
                  <a:lnTo>
                    <a:pt x="1917" y="4523"/>
                  </a:lnTo>
                  <a:lnTo>
                    <a:pt x="1927" y="4478"/>
                  </a:lnTo>
                  <a:lnTo>
                    <a:pt x="1935" y="4432"/>
                  </a:lnTo>
                  <a:lnTo>
                    <a:pt x="1938" y="4407"/>
                  </a:lnTo>
                  <a:lnTo>
                    <a:pt x="1941" y="4383"/>
                  </a:lnTo>
                  <a:lnTo>
                    <a:pt x="1942" y="4359"/>
                  </a:lnTo>
                  <a:lnTo>
                    <a:pt x="1943" y="4333"/>
                  </a:lnTo>
                  <a:lnTo>
                    <a:pt x="1943" y="4308"/>
                  </a:lnTo>
                  <a:lnTo>
                    <a:pt x="1942" y="4281"/>
                  </a:lnTo>
                  <a:lnTo>
                    <a:pt x="1941" y="4255"/>
                  </a:lnTo>
                  <a:lnTo>
                    <a:pt x="1938" y="4228"/>
                  </a:lnTo>
                  <a:lnTo>
                    <a:pt x="1936" y="4201"/>
                  </a:lnTo>
                  <a:lnTo>
                    <a:pt x="1932" y="4173"/>
                  </a:lnTo>
                  <a:lnTo>
                    <a:pt x="1927" y="4144"/>
                  </a:lnTo>
                  <a:lnTo>
                    <a:pt x="1922" y="4116"/>
                  </a:lnTo>
                  <a:lnTo>
                    <a:pt x="1694" y="3977"/>
                  </a:lnTo>
                  <a:lnTo>
                    <a:pt x="1745" y="3911"/>
                  </a:lnTo>
                  <a:lnTo>
                    <a:pt x="1694" y="3830"/>
                  </a:lnTo>
                  <a:lnTo>
                    <a:pt x="1771" y="3265"/>
                  </a:lnTo>
                  <a:lnTo>
                    <a:pt x="1597" y="3265"/>
                  </a:lnTo>
                  <a:close/>
                  <a:moveTo>
                    <a:pt x="4819" y="863"/>
                  </a:moveTo>
                  <a:lnTo>
                    <a:pt x="4819" y="1057"/>
                  </a:lnTo>
                  <a:lnTo>
                    <a:pt x="3585" y="1057"/>
                  </a:lnTo>
                  <a:lnTo>
                    <a:pt x="3585" y="863"/>
                  </a:lnTo>
                  <a:lnTo>
                    <a:pt x="4819" y="863"/>
                  </a:lnTo>
                  <a:close/>
                  <a:moveTo>
                    <a:pt x="5002" y="1108"/>
                  </a:moveTo>
                  <a:lnTo>
                    <a:pt x="5002" y="1379"/>
                  </a:lnTo>
                  <a:lnTo>
                    <a:pt x="3769" y="1379"/>
                  </a:lnTo>
                  <a:lnTo>
                    <a:pt x="3769" y="1108"/>
                  </a:lnTo>
                  <a:lnTo>
                    <a:pt x="5002" y="1108"/>
                  </a:lnTo>
                  <a:close/>
                  <a:moveTo>
                    <a:pt x="4891" y="1429"/>
                  </a:moveTo>
                  <a:lnTo>
                    <a:pt x="4891" y="1623"/>
                  </a:lnTo>
                  <a:lnTo>
                    <a:pt x="3657" y="1623"/>
                  </a:lnTo>
                  <a:lnTo>
                    <a:pt x="3657" y="1429"/>
                  </a:lnTo>
                  <a:lnTo>
                    <a:pt x="4891" y="1429"/>
                  </a:lnTo>
                  <a:close/>
                  <a:moveTo>
                    <a:pt x="4977" y="1659"/>
                  </a:moveTo>
                  <a:lnTo>
                    <a:pt x="4977" y="1853"/>
                  </a:lnTo>
                  <a:lnTo>
                    <a:pt x="3743" y="1853"/>
                  </a:lnTo>
                  <a:lnTo>
                    <a:pt x="3743" y="1659"/>
                  </a:lnTo>
                  <a:lnTo>
                    <a:pt x="4977" y="1659"/>
                  </a:lnTo>
                  <a:close/>
                  <a:moveTo>
                    <a:pt x="1643" y="596"/>
                  </a:moveTo>
                  <a:lnTo>
                    <a:pt x="1833" y="561"/>
                  </a:lnTo>
                  <a:lnTo>
                    <a:pt x="2061" y="1773"/>
                  </a:lnTo>
                  <a:lnTo>
                    <a:pt x="1871" y="1809"/>
                  </a:lnTo>
                  <a:lnTo>
                    <a:pt x="1643" y="596"/>
                  </a:lnTo>
                  <a:close/>
                  <a:moveTo>
                    <a:pt x="1388" y="596"/>
                  </a:moveTo>
                  <a:lnTo>
                    <a:pt x="1579" y="561"/>
                  </a:lnTo>
                  <a:lnTo>
                    <a:pt x="1807" y="1773"/>
                  </a:lnTo>
                  <a:lnTo>
                    <a:pt x="1616" y="1809"/>
                  </a:lnTo>
                  <a:lnTo>
                    <a:pt x="1388" y="596"/>
                  </a:lnTo>
                  <a:close/>
                  <a:moveTo>
                    <a:pt x="1134" y="596"/>
                  </a:moveTo>
                  <a:lnTo>
                    <a:pt x="1324" y="561"/>
                  </a:lnTo>
                  <a:lnTo>
                    <a:pt x="1551" y="1773"/>
                  </a:lnTo>
                  <a:lnTo>
                    <a:pt x="1361" y="1809"/>
                  </a:lnTo>
                  <a:lnTo>
                    <a:pt x="1134" y="596"/>
                  </a:lnTo>
                  <a:close/>
                  <a:moveTo>
                    <a:pt x="884" y="568"/>
                  </a:moveTo>
                  <a:lnTo>
                    <a:pt x="1077" y="568"/>
                  </a:lnTo>
                  <a:lnTo>
                    <a:pt x="1077" y="1802"/>
                  </a:lnTo>
                  <a:lnTo>
                    <a:pt x="884" y="1802"/>
                  </a:lnTo>
                  <a:lnTo>
                    <a:pt x="884" y="568"/>
                  </a:lnTo>
                  <a:close/>
                  <a:moveTo>
                    <a:pt x="3540" y="2418"/>
                  </a:moveTo>
                  <a:lnTo>
                    <a:pt x="3807" y="2354"/>
                  </a:lnTo>
                  <a:lnTo>
                    <a:pt x="4033" y="3306"/>
                  </a:lnTo>
                  <a:lnTo>
                    <a:pt x="3765" y="3369"/>
                  </a:lnTo>
                  <a:lnTo>
                    <a:pt x="3540" y="2418"/>
                  </a:lnTo>
                  <a:close/>
                  <a:moveTo>
                    <a:pt x="3622" y="2531"/>
                  </a:moveTo>
                  <a:lnTo>
                    <a:pt x="3639" y="2606"/>
                  </a:lnTo>
                  <a:lnTo>
                    <a:pt x="3791" y="2570"/>
                  </a:lnTo>
                  <a:lnTo>
                    <a:pt x="3773" y="2496"/>
                  </a:lnTo>
                  <a:lnTo>
                    <a:pt x="3622" y="2531"/>
                  </a:lnTo>
                  <a:close/>
                  <a:moveTo>
                    <a:pt x="3739" y="3028"/>
                  </a:moveTo>
                  <a:lnTo>
                    <a:pt x="3776" y="3184"/>
                  </a:lnTo>
                  <a:lnTo>
                    <a:pt x="3928" y="3148"/>
                  </a:lnTo>
                  <a:lnTo>
                    <a:pt x="3890" y="2991"/>
                  </a:lnTo>
                  <a:lnTo>
                    <a:pt x="3739" y="3028"/>
                  </a:lnTo>
                  <a:close/>
                  <a:moveTo>
                    <a:pt x="3193" y="2418"/>
                  </a:moveTo>
                  <a:lnTo>
                    <a:pt x="3418" y="3369"/>
                  </a:lnTo>
                  <a:lnTo>
                    <a:pt x="3687" y="3306"/>
                  </a:lnTo>
                  <a:lnTo>
                    <a:pt x="3461" y="2354"/>
                  </a:lnTo>
                  <a:lnTo>
                    <a:pt x="3193" y="2418"/>
                  </a:lnTo>
                  <a:close/>
                  <a:moveTo>
                    <a:pt x="3276" y="2531"/>
                  </a:moveTo>
                  <a:lnTo>
                    <a:pt x="3426" y="2496"/>
                  </a:lnTo>
                  <a:lnTo>
                    <a:pt x="3444" y="2570"/>
                  </a:lnTo>
                  <a:lnTo>
                    <a:pt x="3292" y="2606"/>
                  </a:lnTo>
                  <a:lnTo>
                    <a:pt x="3276" y="2531"/>
                  </a:lnTo>
                  <a:close/>
                  <a:moveTo>
                    <a:pt x="3393" y="3028"/>
                  </a:moveTo>
                  <a:lnTo>
                    <a:pt x="3429" y="3184"/>
                  </a:lnTo>
                  <a:lnTo>
                    <a:pt x="3581" y="3148"/>
                  </a:lnTo>
                  <a:lnTo>
                    <a:pt x="3544" y="2991"/>
                  </a:lnTo>
                  <a:lnTo>
                    <a:pt x="3393" y="3028"/>
                  </a:lnTo>
                  <a:close/>
                  <a:moveTo>
                    <a:pt x="2841" y="2418"/>
                  </a:moveTo>
                  <a:lnTo>
                    <a:pt x="3109" y="2354"/>
                  </a:lnTo>
                  <a:lnTo>
                    <a:pt x="3335" y="3306"/>
                  </a:lnTo>
                  <a:lnTo>
                    <a:pt x="3067" y="3369"/>
                  </a:lnTo>
                  <a:lnTo>
                    <a:pt x="2841" y="2418"/>
                  </a:lnTo>
                  <a:close/>
                  <a:moveTo>
                    <a:pt x="2923" y="2531"/>
                  </a:moveTo>
                  <a:lnTo>
                    <a:pt x="2941" y="2606"/>
                  </a:lnTo>
                  <a:lnTo>
                    <a:pt x="3092" y="2570"/>
                  </a:lnTo>
                  <a:lnTo>
                    <a:pt x="3075" y="2496"/>
                  </a:lnTo>
                  <a:lnTo>
                    <a:pt x="2923" y="2531"/>
                  </a:lnTo>
                  <a:close/>
                  <a:moveTo>
                    <a:pt x="3041" y="3028"/>
                  </a:moveTo>
                  <a:lnTo>
                    <a:pt x="3192" y="2991"/>
                  </a:lnTo>
                  <a:lnTo>
                    <a:pt x="3229" y="3148"/>
                  </a:lnTo>
                  <a:lnTo>
                    <a:pt x="3078" y="3184"/>
                  </a:lnTo>
                  <a:lnTo>
                    <a:pt x="3041" y="3028"/>
                  </a:lnTo>
                  <a:close/>
                  <a:moveTo>
                    <a:pt x="2553" y="2372"/>
                  </a:moveTo>
                  <a:lnTo>
                    <a:pt x="2828" y="2372"/>
                  </a:lnTo>
                  <a:lnTo>
                    <a:pt x="2828" y="3352"/>
                  </a:lnTo>
                  <a:lnTo>
                    <a:pt x="2553" y="3352"/>
                  </a:lnTo>
                  <a:lnTo>
                    <a:pt x="2553" y="2372"/>
                  </a:lnTo>
                  <a:close/>
                  <a:moveTo>
                    <a:pt x="2606" y="2503"/>
                  </a:moveTo>
                  <a:lnTo>
                    <a:pt x="2606" y="2579"/>
                  </a:lnTo>
                  <a:lnTo>
                    <a:pt x="2762" y="2579"/>
                  </a:lnTo>
                  <a:lnTo>
                    <a:pt x="2762" y="2503"/>
                  </a:lnTo>
                  <a:lnTo>
                    <a:pt x="2606" y="2503"/>
                  </a:lnTo>
                  <a:close/>
                  <a:moveTo>
                    <a:pt x="2606" y="3012"/>
                  </a:moveTo>
                  <a:lnTo>
                    <a:pt x="2606" y="3173"/>
                  </a:lnTo>
                  <a:lnTo>
                    <a:pt x="2762" y="3173"/>
                  </a:lnTo>
                  <a:lnTo>
                    <a:pt x="2762" y="3012"/>
                  </a:lnTo>
                  <a:lnTo>
                    <a:pt x="2606" y="3012"/>
                  </a:lnTo>
                  <a:close/>
                  <a:moveTo>
                    <a:pt x="5555" y="151"/>
                  </a:moveTo>
                  <a:lnTo>
                    <a:pt x="5555" y="374"/>
                  </a:lnTo>
                  <a:lnTo>
                    <a:pt x="5555" y="4849"/>
                  </a:lnTo>
                  <a:lnTo>
                    <a:pt x="5871" y="4849"/>
                  </a:lnTo>
                  <a:lnTo>
                    <a:pt x="5871" y="5585"/>
                  </a:lnTo>
                  <a:lnTo>
                    <a:pt x="0" y="5585"/>
                  </a:lnTo>
                  <a:lnTo>
                    <a:pt x="0" y="4849"/>
                  </a:lnTo>
                  <a:lnTo>
                    <a:pt x="326" y="4849"/>
                  </a:lnTo>
                  <a:lnTo>
                    <a:pt x="326" y="374"/>
                  </a:lnTo>
                  <a:lnTo>
                    <a:pt x="326" y="151"/>
                  </a:lnTo>
                  <a:lnTo>
                    <a:pt x="326" y="0"/>
                  </a:lnTo>
                  <a:lnTo>
                    <a:pt x="5555" y="0"/>
                  </a:lnTo>
                  <a:lnTo>
                    <a:pt x="5555" y="151"/>
                  </a:lnTo>
                  <a:close/>
                  <a:moveTo>
                    <a:pt x="2409" y="2135"/>
                  </a:moveTo>
                  <a:lnTo>
                    <a:pt x="2409" y="3385"/>
                  </a:lnTo>
                  <a:lnTo>
                    <a:pt x="5107" y="3385"/>
                  </a:lnTo>
                  <a:lnTo>
                    <a:pt x="5107" y="2135"/>
                  </a:lnTo>
                  <a:lnTo>
                    <a:pt x="2409" y="2135"/>
                  </a:lnTo>
                  <a:close/>
                  <a:moveTo>
                    <a:pt x="2409" y="3609"/>
                  </a:moveTo>
                  <a:lnTo>
                    <a:pt x="2409" y="4849"/>
                  </a:lnTo>
                  <a:lnTo>
                    <a:pt x="5107" y="4849"/>
                  </a:lnTo>
                  <a:lnTo>
                    <a:pt x="5107" y="3609"/>
                  </a:lnTo>
                  <a:lnTo>
                    <a:pt x="2409" y="36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678912" y="2511360"/>
            <a:ext cx="1439232" cy="1439232"/>
            <a:chOff x="6678912" y="2511360"/>
            <a:chExt cx="1439232" cy="1439232"/>
          </a:xfrm>
        </p:grpSpPr>
        <p:sp>
          <p:nvSpPr>
            <p:cNvPr id="9" name="íṥḷíďé"/>
            <p:cNvSpPr/>
            <p:nvPr/>
          </p:nvSpPr>
          <p:spPr bwMode="auto">
            <a:xfrm rot="2700000">
              <a:off x="6678912" y="2511360"/>
              <a:ext cx="1439232" cy="1439232"/>
            </a:xfrm>
            <a:prstGeom prst="roundRect">
              <a:avLst>
                <a:gd name="adj" fmla="val 4945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3" name="iṥḻiďê"/>
            <p:cNvSpPr/>
            <p:nvPr/>
          </p:nvSpPr>
          <p:spPr bwMode="auto">
            <a:xfrm>
              <a:off x="7092179" y="2939434"/>
              <a:ext cx="612698" cy="583084"/>
            </a:xfrm>
            <a:custGeom>
              <a:avLst/>
              <a:gdLst>
                <a:gd name="T0" fmla="*/ 0 w 3951"/>
                <a:gd name="T1" fmla="*/ 1583116 h 3950"/>
                <a:gd name="T2" fmla="*/ 108452 w 3951"/>
                <a:gd name="T3" fmla="*/ 1477575 h 3950"/>
                <a:gd name="T4" fmla="*/ 1692401 w 3951"/>
                <a:gd name="T5" fmla="*/ 1477575 h 3950"/>
                <a:gd name="T6" fmla="*/ 1800397 w 3951"/>
                <a:gd name="T7" fmla="*/ 1583116 h 3950"/>
                <a:gd name="T8" fmla="*/ 756431 w 3951"/>
                <a:gd name="T9" fmla="*/ 771741 h 3950"/>
                <a:gd name="T10" fmla="*/ 1044422 w 3951"/>
                <a:gd name="T11" fmla="*/ 771741 h 3950"/>
                <a:gd name="T12" fmla="*/ 1512406 w 3951"/>
                <a:gd name="T13" fmla="*/ 771741 h 3950"/>
                <a:gd name="T14" fmla="*/ 1512406 w 3951"/>
                <a:gd name="T15" fmla="*/ 1547936 h 3950"/>
                <a:gd name="T16" fmla="*/ 1044422 w 3951"/>
                <a:gd name="T17" fmla="*/ 1547936 h 3950"/>
                <a:gd name="T18" fmla="*/ 756431 w 3951"/>
                <a:gd name="T19" fmla="*/ 1547936 h 3950"/>
                <a:gd name="T20" fmla="*/ 288446 w 3951"/>
                <a:gd name="T21" fmla="*/ 1547936 h 3950"/>
                <a:gd name="T22" fmla="*/ 288446 w 3951"/>
                <a:gd name="T23" fmla="*/ 771741 h 3950"/>
                <a:gd name="T24" fmla="*/ 1296413 w 3951"/>
                <a:gd name="T25" fmla="*/ 1512755 h 3950"/>
                <a:gd name="T26" fmla="*/ 1296413 w 3951"/>
                <a:gd name="T27" fmla="*/ 1301673 h 3950"/>
                <a:gd name="T28" fmla="*/ 1512406 w 3951"/>
                <a:gd name="T29" fmla="*/ 1266493 h 3950"/>
                <a:gd name="T30" fmla="*/ 1296413 w 3951"/>
                <a:gd name="T31" fmla="*/ 1266493 h 3950"/>
                <a:gd name="T32" fmla="*/ 1512406 w 3951"/>
                <a:gd name="T33" fmla="*/ 806922 h 3950"/>
                <a:gd name="T34" fmla="*/ 1044422 w 3951"/>
                <a:gd name="T35" fmla="*/ 1512755 h 3950"/>
                <a:gd name="T36" fmla="*/ 1044422 w 3951"/>
                <a:gd name="T37" fmla="*/ 1301673 h 3950"/>
                <a:gd name="T38" fmla="*/ 1260415 w 3951"/>
                <a:gd name="T39" fmla="*/ 1266493 h 3950"/>
                <a:gd name="T40" fmla="*/ 1044422 w 3951"/>
                <a:gd name="T41" fmla="*/ 1266493 h 3950"/>
                <a:gd name="T42" fmla="*/ 1260415 w 3951"/>
                <a:gd name="T43" fmla="*/ 806922 h 3950"/>
                <a:gd name="T44" fmla="*/ 792430 w 3951"/>
                <a:gd name="T45" fmla="*/ 1512755 h 3950"/>
                <a:gd name="T46" fmla="*/ 792430 w 3951"/>
                <a:gd name="T47" fmla="*/ 1301673 h 3950"/>
                <a:gd name="T48" fmla="*/ 1008423 w 3951"/>
                <a:gd name="T49" fmla="*/ 1266493 h 3950"/>
                <a:gd name="T50" fmla="*/ 792430 w 3951"/>
                <a:gd name="T51" fmla="*/ 1266493 h 3950"/>
                <a:gd name="T52" fmla="*/ 1008423 w 3951"/>
                <a:gd name="T53" fmla="*/ 806922 h 3950"/>
                <a:gd name="T54" fmla="*/ 540438 w 3951"/>
                <a:gd name="T55" fmla="*/ 1512755 h 3950"/>
                <a:gd name="T56" fmla="*/ 540438 w 3951"/>
                <a:gd name="T57" fmla="*/ 1301673 h 3950"/>
                <a:gd name="T58" fmla="*/ 756431 w 3951"/>
                <a:gd name="T59" fmla="*/ 1266493 h 3950"/>
                <a:gd name="T60" fmla="*/ 540438 w 3951"/>
                <a:gd name="T61" fmla="*/ 1266493 h 3950"/>
                <a:gd name="T62" fmla="*/ 756431 w 3951"/>
                <a:gd name="T63" fmla="*/ 806922 h 3950"/>
                <a:gd name="T64" fmla="*/ 288446 w 3951"/>
                <a:gd name="T65" fmla="*/ 1512755 h 3950"/>
                <a:gd name="T66" fmla="*/ 288446 w 3951"/>
                <a:gd name="T67" fmla="*/ 1301673 h 3950"/>
                <a:gd name="T68" fmla="*/ 504439 w 3951"/>
                <a:gd name="T69" fmla="*/ 1266493 h 3950"/>
                <a:gd name="T70" fmla="*/ 288446 w 3951"/>
                <a:gd name="T71" fmla="*/ 1266493 h 3950"/>
                <a:gd name="T72" fmla="*/ 504439 w 3951"/>
                <a:gd name="T73" fmla="*/ 806922 h 3950"/>
                <a:gd name="T74" fmla="*/ 0 w 3951"/>
                <a:gd name="T75" fmla="*/ 316623 h 3950"/>
                <a:gd name="T76" fmla="*/ 252447 w 3951"/>
                <a:gd name="T77" fmla="*/ 492525 h 3950"/>
                <a:gd name="T78" fmla="*/ 1260415 w 3951"/>
                <a:gd name="T79" fmla="*/ 140721 h 3950"/>
                <a:gd name="T80" fmla="*/ 1548405 w 3951"/>
                <a:gd name="T81" fmla="*/ 140721 h 3950"/>
                <a:gd name="T82" fmla="*/ 1800397 w 3951"/>
                <a:gd name="T83" fmla="*/ 703607 h 3950"/>
                <a:gd name="T84" fmla="*/ 1296413 w 3951"/>
                <a:gd name="T85" fmla="*/ 105541 h 3950"/>
                <a:gd name="T86" fmla="*/ 1512406 w 3951"/>
                <a:gd name="T87" fmla="*/ 457345 h 3950"/>
                <a:gd name="T88" fmla="*/ 288446 w 3951"/>
                <a:gd name="T89" fmla="*/ 105541 h 3950"/>
                <a:gd name="T90" fmla="*/ 504439 w 3951"/>
                <a:gd name="T91" fmla="*/ 457345 h 39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51" h="3950">
                  <a:moveTo>
                    <a:pt x="3556" y="3950"/>
                  </a:moveTo>
                  <a:cubicBezTo>
                    <a:pt x="396" y="3950"/>
                    <a:pt x="396" y="3950"/>
                    <a:pt x="396" y="3950"/>
                  </a:cubicBezTo>
                  <a:cubicBezTo>
                    <a:pt x="177" y="3950"/>
                    <a:pt x="0" y="3773"/>
                    <a:pt x="0" y="3555"/>
                  </a:cubicBezTo>
                  <a:cubicBezTo>
                    <a:pt x="0" y="1738"/>
                    <a:pt x="0" y="1738"/>
                    <a:pt x="0" y="1738"/>
                  </a:cubicBezTo>
                  <a:cubicBezTo>
                    <a:pt x="244" y="1738"/>
                    <a:pt x="244" y="1738"/>
                    <a:pt x="244" y="1738"/>
                  </a:cubicBezTo>
                  <a:cubicBezTo>
                    <a:pt x="243" y="2424"/>
                    <a:pt x="238" y="3318"/>
                    <a:pt x="238" y="3318"/>
                  </a:cubicBezTo>
                  <a:cubicBezTo>
                    <a:pt x="238" y="3536"/>
                    <a:pt x="494" y="3713"/>
                    <a:pt x="712" y="3713"/>
                  </a:cubicBezTo>
                  <a:cubicBezTo>
                    <a:pt x="3240" y="3713"/>
                    <a:pt x="3240" y="3713"/>
                    <a:pt x="3240" y="3713"/>
                  </a:cubicBezTo>
                  <a:cubicBezTo>
                    <a:pt x="3458" y="3713"/>
                    <a:pt x="3714" y="3536"/>
                    <a:pt x="3714" y="3318"/>
                  </a:cubicBezTo>
                  <a:cubicBezTo>
                    <a:pt x="3714" y="3318"/>
                    <a:pt x="3709" y="2404"/>
                    <a:pt x="3707" y="1738"/>
                  </a:cubicBezTo>
                  <a:cubicBezTo>
                    <a:pt x="3951" y="1738"/>
                    <a:pt x="3951" y="1738"/>
                    <a:pt x="3951" y="1738"/>
                  </a:cubicBezTo>
                  <a:cubicBezTo>
                    <a:pt x="3951" y="3555"/>
                    <a:pt x="3951" y="3555"/>
                    <a:pt x="3951" y="3555"/>
                  </a:cubicBezTo>
                  <a:cubicBezTo>
                    <a:pt x="3951" y="3773"/>
                    <a:pt x="3774" y="3950"/>
                    <a:pt x="3556" y="3950"/>
                  </a:cubicBezTo>
                  <a:close/>
                  <a:moveTo>
                    <a:pt x="1186" y="1733"/>
                  </a:moveTo>
                  <a:cubicBezTo>
                    <a:pt x="1660" y="1733"/>
                    <a:pt x="1660" y="1733"/>
                    <a:pt x="1660" y="1733"/>
                  </a:cubicBezTo>
                  <a:cubicBezTo>
                    <a:pt x="1739" y="1733"/>
                    <a:pt x="1739" y="1733"/>
                    <a:pt x="1739" y="1733"/>
                  </a:cubicBezTo>
                  <a:cubicBezTo>
                    <a:pt x="2213" y="1733"/>
                    <a:pt x="2213" y="1733"/>
                    <a:pt x="2213" y="1733"/>
                  </a:cubicBezTo>
                  <a:cubicBezTo>
                    <a:pt x="2292" y="1733"/>
                    <a:pt x="2292" y="1733"/>
                    <a:pt x="2292" y="1733"/>
                  </a:cubicBezTo>
                  <a:cubicBezTo>
                    <a:pt x="2766" y="1733"/>
                    <a:pt x="2766" y="1733"/>
                    <a:pt x="2766" y="1733"/>
                  </a:cubicBezTo>
                  <a:cubicBezTo>
                    <a:pt x="2845" y="1733"/>
                    <a:pt x="2845" y="1733"/>
                    <a:pt x="2845" y="1733"/>
                  </a:cubicBezTo>
                  <a:cubicBezTo>
                    <a:pt x="3319" y="1733"/>
                    <a:pt x="3319" y="1733"/>
                    <a:pt x="3319" y="1733"/>
                  </a:cubicBezTo>
                  <a:cubicBezTo>
                    <a:pt x="3398" y="1733"/>
                    <a:pt x="3398" y="1733"/>
                    <a:pt x="3398" y="1733"/>
                  </a:cubicBezTo>
                  <a:cubicBezTo>
                    <a:pt x="3398" y="3476"/>
                    <a:pt x="3398" y="3476"/>
                    <a:pt x="3398" y="3476"/>
                  </a:cubicBezTo>
                  <a:cubicBezTo>
                    <a:pt x="3319" y="3476"/>
                    <a:pt x="3319" y="3476"/>
                    <a:pt x="3319" y="3476"/>
                  </a:cubicBezTo>
                  <a:cubicBezTo>
                    <a:pt x="2845" y="3476"/>
                    <a:pt x="2845" y="3476"/>
                    <a:pt x="2845" y="3476"/>
                  </a:cubicBezTo>
                  <a:cubicBezTo>
                    <a:pt x="2766" y="3476"/>
                    <a:pt x="2766" y="3476"/>
                    <a:pt x="2766" y="3476"/>
                  </a:cubicBezTo>
                  <a:cubicBezTo>
                    <a:pt x="2292" y="3476"/>
                    <a:pt x="2292" y="3476"/>
                    <a:pt x="2292" y="3476"/>
                  </a:cubicBezTo>
                  <a:cubicBezTo>
                    <a:pt x="2213" y="3476"/>
                    <a:pt x="2213" y="3476"/>
                    <a:pt x="2213" y="3476"/>
                  </a:cubicBezTo>
                  <a:cubicBezTo>
                    <a:pt x="1739" y="3476"/>
                    <a:pt x="1739" y="3476"/>
                    <a:pt x="1739" y="3476"/>
                  </a:cubicBezTo>
                  <a:cubicBezTo>
                    <a:pt x="1660" y="3476"/>
                    <a:pt x="1660" y="3476"/>
                    <a:pt x="1660" y="3476"/>
                  </a:cubicBezTo>
                  <a:cubicBezTo>
                    <a:pt x="1186" y="3476"/>
                    <a:pt x="1186" y="3476"/>
                    <a:pt x="1186" y="3476"/>
                  </a:cubicBezTo>
                  <a:cubicBezTo>
                    <a:pt x="1107" y="3476"/>
                    <a:pt x="1107" y="3476"/>
                    <a:pt x="1107" y="3476"/>
                  </a:cubicBezTo>
                  <a:cubicBezTo>
                    <a:pt x="633" y="3476"/>
                    <a:pt x="633" y="3476"/>
                    <a:pt x="633" y="3476"/>
                  </a:cubicBezTo>
                  <a:cubicBezTo>
                    <a:pt x="554" y="3476"/>
                    <a:pt x="554" y="3476"/>
                    <a:pt x="554" y="3476"/>
                  </a:cubicBezTo>
                  <a:cubicBezTo>
                    <a:pt x="554" y="1733"/>
                    <a:pt x="554" y="1733"/>
                    <a:pt x="554" y="1733"/>
                  </a:cubicBezTo>
                  <a:cubicBezTo>
                    <a:pt x="633" y="1733"/>
                    <a:pt x="633" y="1733"/>
                    <a:pt x="633" y="1733"/>
                  </a:cubicBezTo>
                  <a:cubicBezTo>
                    <a:pt x="1107" y="1733"/>
                    <a:pt x="1107" y="1733"/>
                    <a:pt x="1107" y="1733"/>
                  </a:cubicBezTo>
                  <a:lnTo>
                    <a:pt x="1186" y="1733"/>
                  </a:lnTo>
                  <a:close/>
                  <a:moveTo>
                    <a:pt x="2845" y="3397"/>
                  </a:moveTo>
                  <a:cubicBezTo>
                    <a:pt x="3319" y="3397"/>
                    <a:pt x="3319" y="3397"/>
                    <a:pt x="3319" y="3397"/>
                  </a:cubicBezTo>
                  <a:cubicBezTo>
                    <a:pt x="3319" y="2923"/>
                    <a:pt x="3319" y="2923"/>
                    <a:pt x="3319" y="2923"/>
                  </a:cubicBezTo>
                  <a:cubicBezTo>
                    <a:pt x="2845" y="2923"/>
                    <a:pt x="2845" y="2923"/>
                    <a:pt x="2845" y="2923"/>
                  </a:cubicBezTo>
                  <a:lnTo>
                    <a:pt x="2845" y="3397"/>
                  </a:lnTo>
                  <a:close/>
                  <a:moveTo>
                    <a:pt x="2845" y="2844"/>
                  </a:moveTo>
                  <a:cubicBezTo>
                    <a:pt x="3319" y="2844"/>
                    <a:pt x="3319" y="2844"/>
                    <a:pt x="3319" y="2844"/>
                  </a:cubicBezTo>
                  <a:cubicBezTo>
                    <a:pt x="3319" y="2370"/>
                    <a:pt x="3319" y="2370"/>
                    <a:pt x="3319" y="2370"/>
                  </a:cubicBezTo>
                  <a:cubicBezTo>
                    <a:pt x="2845" y="2370"/>
                    <a:pt x="2845" y="2370"/>
                    <a:pt x="2845" y="2370"/>
                  </a:cubicBezTo>
                  <a:lnTo>
                    <a:pt x="2845" y="2844"/>
                  </a:lnTo>
                  <a:close/>
                  <a:moveTo>
                    <a:pt x="2845" y="2291"/>
                  </a:moveTo>
                  <a:cubicBezTo>
                    <a:pt x="3319" y="2291"/>
                    <a:pt x="3319" y="2291"/>
                    <a:pt x="3319" y="2291"/>
                  </a:cubicBezTo>
                  <a:cubicBezTo>
                    <a:pt x="3319" y="1812"/>
                    <a:pt x="3319" y="1812"/>
                    <a:pt x="3319" y="1812"/>
                  </a:cubicBezTo>
                  <a:cubicBezTo>
                    <a:pt x="2845" y="1812"/>
                    <a:pt x="2845" y="1812"/>
                    <a:pt x="2845" y="1812"/>
                  </a:cubicBezTo>
                  <a:lnTo>
                    <a:pt x="2845" y="2291"/>
                  </a:lnTo>
                  <a:close/>
                  <a:moveTo>
                    <a:pt x="2292" y="3397"/>
                  </a:moveTo>
                  <a:cubicBezTo>
                    <a:pt x="2766" y="3397"/>
                    <a:pt x="2766" y="3397"/>
                    <a:pt x="2766" y="3397"/>
                  </a:cubicBezTo>
                  <a:cubicBezTo>
                    <a:pt x="2766" y="2923"/>
                    <a:pt x="2766" y="2923"/>
                    <a:pt x="2766" y="2923"/>
                  </a:cubicBezTo>
                  <a:cubicBezTo>
                    <a:pt x="2292" y="2923"/>
                    <a:pt x="2292" y="2923"/>
                    <a:pt x="2292" y="2923"/>
                  </a:cubicBezTo>
                  <a:lnTo>
                    <a:pt x="2292" y="3397"/>
                  </a:lnTo>
                  <a:close/>
                  <a:moveTo>
                    <a:pt x="2292" y="2844"/>
                  </a:moveTo>
                  <a:cubicBezTo>
                    <a:pt x="2766" y="2844"/>
                    <a:pt x="2766" y="2844"/>
                    <a:pt x="2766" y="2844"/>
                  </a:cubicBezTo>
                  <a:cubicBezTo>
                    <a:pt x="2766" y="2370"/>
                    <a:pt x="2766" y="2370"/>
                    <a:pt x="2766" y="2370"/>
                  </a:cubicBezTo>
                  <a:cubicBezTo>
                    <a:pt x="2292" y="2370"/>
                    <a:pt x="2292" y="2370"/>
                    <a:pt x="2292" y="2370"/>
                  </a:cubicBezTo>
                  <a:lnTo>
                    <a:pt x="2292" y="2844"/>
                  </a:lnTo>
                  <a:close/>
                  <a:moveTo>
                    <a:pt x="2292" y="2291"/>
                  </a:moveTo>
                  <a:cubicBezTo>
                    <a:pt x="2766" y="2291"/>
                    <a:pt x="2766" y="2291"/>
                    <a:pt x="2766" y="2291"/>
                  </a:cubicBezTo>
                  <a:cubicBezTo>
                    <a:pt x="2766" y="1812"/>
                    <a:pt x="2766" y="1812"/>
                    <a:pt x="2766" y="1812"/>
                  </a:cubicBezTo>
                  <a:cubicBezTo>
                    <a:pt x="2292" y="1812"/>
                    <a:pt x="2292" y="1812"/>
                    <a:pt x="2292" y="1812"/>
                  </a:cubicBezTo>
                  <a:lnTo>
                    <a:pt x="2292" y="2291"/>
                  </a:lnTo>
                  <a:close/>
                  <a:moveTo>
                    <a:pt x="1739" y="3397"/>
                  </a:moveTo>
                  <a:cubicBezTo>
                    <a:pt x="2213" y="3397"/>
                    <a:pt x="2213" y="3397"/>
                    <a:pt x="2213" y="3397"/>
                  </a:cubicBezTo>
                  <a:cubicBezTo>
                    <a:pt x="2213" y="2923"/>
                    <a:pt x="2213" y="2923"/>
                    <a:pt x="2213" y="2923"/>
                  </a:cubicBezTo>
                  <a:cubicBezTo>
                    <a:pt x="1739" y="2923"/>
                    <a:pt x="1739" y="2923"/>
                    <a:pt x="1739" y="2923"/>
                  </a:cubicBezTo>
                  <a:lnTo>
                    <a:pt x="1739" y="3397"/>
                  </a:lnTo>
                  <a:close/>
                  <a:moveTo>
                    <a:pt x="1739" y="2844"/>
                  </a:moveTo>
                  <a:cubicBezTo>
                    <a:pt x="2213" y="2844"/>
                    <a:pt x="2213" y="2844"/>
                    <a:pt x="2213" y="2844"/>
                  </a:cubicBezTo>
                  <a:cubicBezTo>
                    <a:pt x="2213" y="2370"/>
                    <a:pt x="2213" y="2370"/>
                    <a:pt x="2213" y="2370"/>
                  </a:cubicBezTo>
                  <a:cubicBezTo>
                    <a:pt x="1739" y="2370"/>
                    <a:pt x="1739" y="2370"/>
                    <a:pt x="1739" y="2370"/>
                  </a:cubicBezTo>
                  <a:lnTo>
                    <a:pt x="1739" y="2844"/>
                  </a:lnTo>
                  <a:close/>
                  <a:moveTo>
                    <a:pt x="1739" y="2291"/>
                  </a:moveTo>
                  <a:cubicBezTo>
                    <a:pt x="2213" y="2291"/>
                    <a:pt x="2213" y="2291"/>
                    <a:pt x="2213" y="2291"/>
                  </a:cubicBezTo>
                  <a:cubicBezTo>
                    <a:pt x="2213" y="1812"/>
                    <a:pt x="2213" y="1812"/>
                    <a:pt x="2213" y="1812"/>
                  </a:cubicBezTo>
                  <a:cubicBezTo>
                    <a:pt x="1739" y="1812"/>
                    <a:pt x="1739" y="1812"/>
                    <a:pt x="1739" y="1812"/>
                  </a:cubicBezTo>
                  <a:lnTo>
                    <a:pt x="1739" y="2291"/>
                  </a:lnTo>
                  <a:close/>
                  <a:moveTo>
                    <a:pt x="1186" y="3397"/>
                  </a:moveTo>
                  <a:cubicBezTo>
                    <a:pt x="1660" y="3397"/>
                    <a:pt x="1660" y="3397"/>
                    <a:pt x="1660" y="3397"/>
                  </a:cubicBezTo>
                  <a:cubicBezTo>
                    <a:pt x="1660" y="2923"/>
                    <a:pt x="1660" y="2923"/>
                    <a:pt x="1660" y="2923"/>
                  </a:cubicBezTo>
                  <a:cubicBezTo>
                    <a:pt x="1186" y="2923"/>
                    <a:pt x="1186" y="2923"/>
                    <a:pt x="1186" y="2923"/>
                  </a:cubicBezTo>
                  <a:lnTo>
                    <a:pt x="1186" y="3397"/>
                  </a:lnTo>
                  <a:close/>
                  <a:moveTo>
                    <a:pt x="1186" y="2844"/>
                  </a:moveTo>
                  <a:cubicBezTo>
                    <a:pt x="1660" y="2844"/>
                    <a:pt x="1660" y="2844"/>
                    <a:pt x="1660" y="2844"/>
                  </a:cubicBezTo>
                  <a:cubicBezTo>
                    <a:pt x="1660" y="2370"/>
                    <a:pt x="1660" y="2370"/>
                    <a:pt x="1660" y="2370"/>
                  </a:cubicBezTo>
                  <a:cubicBezTo>
                    <a:pt x="1186" y="2370"/>
                    <a:pt x="1186" y="2370"/>
                    <a:pt x="1186" y="2370"/>
                  </a:cubicBezTo>
                  <a:lnTo>
                    <a:pt x="1186" y="2844"/>
                  </a:lnTo>
                  <a:close/>
                  <a:moveTo>
                    <a:pt x="1186" y="2291"/>
                  </a:moveTo>
                  <a:cubicBezTo>
                    <a:pt x="1660" y="2291"/>
                    <a:pt x="1660" y="2291"/>
                    <a:pt x="1660" y="2291"/>
                  </a:cubicBezTo>
                  <a:cubicBezTo>
                    <a:pt x="1660" y="1812"/>
                    <a:pt x="1660" y="1812"/>
                    <a:pt x="1660" y="1812"/>
                  </a:cubicBezTo>
                  <a:cubicBezTo>
                    <a:pt x="1186" y="1812"/>
                    <a:pt x="1186" y="1812"/>
                    <a:pt x="1186" y="1812"/>
                  </a:cubicBezTo>
                  <a:lnTo>
                    <a:pt x="1186" y="2291"/>
                  </a:lnTo>
                  <a:close/>
                  <a:moveTo>
                    <a:pt x="633" y="3397"/>
                  </a:moveTo>
                  <a:cubicBezTo>
                    <a:pt x="1107" y="3397"/>
                    <a:pt x="1107" y="3397"/>
                    <a:pt x="1107" y="3397"/>
                  </a:cubicBezTo>
                  <a:cubicBezTo>
                    <a:pt x="1107" y="2923"/>
                    <a:pt x="1107" y="2923"/>
                    <a:pt x="1107" y="2923"/>
                  </a:cubicBezTo>
                  <a:cubicBezTo>
                    <a:pt x="633" y="2923"/>
                    <a:pt x="633" y="2923"/>
                    <a:pt x="633" y="2923"/>
                  </a:cubicBezTo>
                  <a:lnTo>
                    <a:pt x="633" y="3397"/>
                  </a:lnTo>
                  <a:close/>
                  <a:moveTo>
                    <a:pt x="633" y="2844"/>
                  </a:moveTo>
                  <a:cubicBezTo>
                    <a:pt x="1107" y="2844"/>
                    <a:pt x="1107" y="2844"/>
                    <a:pt x="1107" y="2844"/>
                  </a:cubicBezTo>
                  <a:cubicBezTo>
                    <a:pt x="1107" y="2370"/>
                    <a:pt x="1107" y="2370"/>
                    <a:pt x="1107" y="2370"/>
                  </a:cubicBezTo>
                  <a:cubicBezTo>
                    <a:pt x="633" y="2370"/>
                    <a:pt x="633" y="2370"/>
                    <a:pt x="633" y="2370"/>
                  </a:cubicBezTo>
                  <a:lnTo>
                    <a:pt x="633" y="2844"/>
                  </a:lnTo>
                  <a:close/>
                  <a:moveTo>
                    <a:pt x="633" y="2291"/>
                  </a:moveTo>
                  <a:cubicBezTo>
                    <a:pt x="1107" y="2291"/>
                    <a:pt x="1107" y="2291"/>
                    <a:pt x="1107" y="2291"/>
                  </a:cubicBezTo>
                  <a:cubicBezTo>
                    <a:pt x="1107" y="1812"/>
                    <a:pt x="1107" y="1812"/>
                    <a:pt x="1107" y="1812"/>
                  </a:cubicBezTo>
                  <a:cubicBezTo>
                    <a:pt x="633" y="1812"/>
                    <a:pt x="633" y="1812"/>
                    <a:pt x="633" y="1812"/>
                  </a:cubicBezTo>
                  <a:lnTo>
                    <a:pt x="633" y="2291"/>
                  </a:lnTo>
                  <a:close/>
                  <a:moveTo>
                    <a:pt x="0" y="711"/>
                  </a:moveTo>
                  <a:cubicBezTo>
                    <a:pt x="0" y="493"/>
                    <a:pt x="177" y="316"/>
                    <a:pt x="396" y="316"/>
                  </a:cubicBezTo>
                  <a:cubicBezTo>
                    <a:pt x="554" y="316"/>
                    <a:pt x="554" y="316"/>
                    <a:pt x="554" y="316"/>
                  </a:cubicBezTo>
                  <a:cubicBezTo>
                    <a:pt x="554" y="1106"/>
                    <a:pt x="554" y="1106"/>
                    <a:pt x="554" y="1106"/>
                  </a:cubicBezTo>
                  <a:cubicBezTo>
                    <a:pt x="870" y="1106"/>
                    <a:pt x="858" y="1106"/>
                    <a:pt x="1186" y="1106"/>
                  </a:cubicBezTo>
                  <a:cubicBezTo>
                    <a:pt x="1186" y="316"/>
                    <a:pt x="1186" y="316"/>
                    <a:pt x="1186" y="316"/>
                  </a:cubicBezTo>
                  <a:cubicBezTo>
                    <a:pt x="2766" y="316"/>
                    <a:pt x="2766" y="316"/>
                    <a:pt x="2766" y="316"/>
                  </a:cubicBezTo>
                  <a:cubicBezTo>
                    <a:pt x="2766" y="1106"/>
                    <a:pt x="2766" y="1106"/>
                    <a:pt x="2766" y="1106"/>
                  </a:cubicBezTo>
                  <a:cubicBezTo>
                    <a:pt x="3070" y="1106"/>
                    <a:pt x="3070" y="1106"/>
                    <a:pt x="3398" y="1106"/>
                  </a:cubicBezTo>
                  <a:cubicBezTo>
                    <a:pt x="3398" y="316"/>
                    <a:pt x="3398" y="316"/>
                    <a:pt x="3398" y="316"/>
                  </a:cubicBezTo>
                  <a:cubicBezTo>
                    <a:pt x="3556" y="316"/>
                    <a:pt x="3556" y="316"/>
                    <a:pt x="3556" y="316"/>
                  </a:cubicBezTo>
                  <a:cubicBezTo>
                    <a:pt x="3774" y="316"/>
                    <a:pt x="3951" y="493"/>
                    <a:pt x="3951" y="711"/>
                  </a:cubicBezTo>
                  <a:cubicBezTo>
                    <a:pt x="3951" y="1580"/>
                    <a:pt x="3951" y="1580"/>
                    <a:pt x="3951" y="1580"/>
                  </a:cubicBezTo>
                  <a:cubicBezTo>
                    <a:pt x="2260" y="1580"/>
                    <a:pt x="1897" y="1580"/>
                    <a:pt x="0" y="1580"/>
                  </a:cubicBezTo>
                  <a:lnTo>
                    <a:pt x="0" y="711"/>
                  </a:lnTo>
                  <a:close/>
                  <a:moveTo>
                    <a:pt x="2845" y="237"/>
                  </a:moveTo>
                  <a:cubicBezTo>
                    <a:pt x="2845" y="106"/>
                    <a:pt x="2951" y="0"/>
                    <a:pt x="3082" y="0"/>
                  </a:cubicBezTo>
                  <a:cubicBezTo>
                    <a:pt x="3213" y="0"/>
                    <a:pt x="3319" y="106"/>
                    <a:pt x="3319" y="237"/>
                  </a:cubicBezTo>
                  <a:cubicBezTo>
                    <a:pt x="3319" y="1027"/>
                    <a:pt x="3319" y="1027"/>
                    <a:pt x="3319" y="1027"/>
                  </a:cubicBezTo>
                  <a:cubicBezTo>
                    <a:pt x="3319" y="1027"/>
                    <a:pt x="3138" y="1027"/>
                    <a:pt x="2845" y="1027"/>
                  </a:cubicBezTo>
                  <a:cubicBezTo>
                    <a:pt x="2845" y="891"/>
                    <a:pt x="2845" y="237"/>
                    <a:pt x="2845" y="237"/>
                  </a:cubicBezTo>
                  <a:close/>
                  <a:moveTo>
                    <a:pt x="633" y="237"/>
                  </a:moveTo>
                  <a:cubicBezTo>
                    <a:pt x="633" y="106"/>
                    <a:pt x="739" y="0"/>
                    <a:pt x="870" y="0"/>
                  </a:cubicBezTo>
                  <a:cubicBezTo>
                    <a:pt x="1001" y="0"/>
                    <a:pt x="1107" y="106"/>
                    <a:pt x="1107" y="237"/>
                  </a:cubicBezTo>
                  <a:cubicBezTo>
                    <a:pt x="1107" y="1027"/>
                    <a:pt x="1107" y="1027"/>
                    <a:pt x="1107" y="1027"/>
                  </a:cubicBezTo>
                  <a:cubicBezTo>
                    <a:pt x="1107" y="1027"/>
                    <a:pt x="847" y="1027"/>
                    <a:pt x="633" y="1027"/>
                  </a:cubicBezTo>
                  <a:cubicBezTo>
                    <a:pt x="633" y="1072"/>
                    <a:pt x="633" y="237"/>
                    <a:pt x="633" y="2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9283968" y="2511360"/>
            <a:ext cx="1439232" cy="1439232"/>
            <a:chOff x="9283968" y="2511360"/>
            <a:chExt cx="1439232" cy="1439232"/>
          </a:xfrm>
        </p:grpSpPr>
        <p:sp>
          <p:nvSpPr>
            <p:cNvPr id="8" name="îS1îḑè"/>
            <p:cNvSpPr/>
            <p:nvPr/>
          </p:nvSpPr>
          <p:spPr bwMode="auto">
            <a:xfrm rot="2700000">
              <a:off x="9283968" y="2511360"/>
              <a:ext cx="1439232" cy="1439232"/>
            </a:xfrm>
            <a:prstGeom prst="roundRect">
              <a:avLst>
                <a:gd name="adj" fmla="val 4945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14" name="íšľiḑe"/>
            <p:cNvSpPr/>
            <p:nvPr/>
          </p:nvSpPr>
          <p:spPr bwMode="auto">
            <a:xfrm>
              <a:off x="9697235" y="2939434"/>
              <a:ext cx="612698" cy="583084"/>
            </a:xfrm>
            <a:custGeom>
              <a:avLst/>
              <a:gdLst>
                <a:gd name="T0" fmla="*/ 2147483646 w 5871"/>
                <a:gd name="T1" fmla="*/ 2147483646 h 5585"/>
                <a:gd name="T2" fmla="*/ 2147483646 w 5871"/>
                <a:gd name="T3" fmla="*/ 2147483646 h 5585"/>
                <a:gd name="T4" fmla="*/ 2147483646 w 5871"/>
                <a:gd name="T5" fmla="*/ 2147483646 h 5585"/>
                <a:gd name="T6" fmla="*/ 2147483646 w 5871"/>
                <a:gd name="T7" fmla="*/ 2147483646 h 5585"/>
                <a:gd name="T8" fmla="*/ 2147483646 w 5871"/>
                <a:gd name="T9" fmla="*/ 2147483646 h 5585"/>
                <a:gd name="T10" fmla="*/ 2147483646 w 5871"/>
                <a:gd name="T11" fmla="*/ 2147483646 h 5585"/>
                <a:gd name="T12" fmla="*/ 2147483646 w 5871"/>
                <a:gd name="T13" fmla="*/ 2147483646 h 5585"/>
                <a:gd name="T14" fmla="*/ 2147483646 w 5871"/>
                <a:gd name="T15" fmla="*/ 2147483646 h 5585"/>
                <a:gd name="T16" fmla="*/ 2147483646 w 5871"/>
                <a:gd name="T17" fmla="*/ 2147483646 h 5585"/>
                <a:gd name="T18" fmla="*/ 2147483646 w 5871"/>
                <a:gd name="T19" fmla="*/ 2147483646 h 5585"/>
                <a:gd name="T20" fmla="*/ 2147483646 w 5871"/>
                <a:gd name="T21" fmla="*/ 2147483646 h 5585"/>
                <a:gd name="T22" fmla="*/ 2147483646 w 5871"/>
                <a:gd name="T23" fmla="*/ 2147483646 h 5585"/>
                <a:gd name="T24" fmla="*/ 2147483646 w 5871"/>
                <a:gd name="T25" fmla="*/ 2147483646 h 5585"/>
                <a:gd name="T26" fmla="*/ 2147483646 w 5871"/>
                <a:gd name="T27" fmla="*/ 2147483646 h 5585"/>
                <a:gd name="T28" fmla="*/ 2147483646 w 5871"/>
                <a:gd name="T29" fmla="*/ 2147483646 h 5585"/>
                <a:gd name="T30" fmla="*/ 2147483646 w 5871"/>
                <a:gd name="T31" fmla="*/ 2147483646 h 5585"/>
                <a:gd name="T32" fmla="*/ 2147483646 w 5871"/>
                <a:gd name="T33" fmla="*/ 2147483646 h 5585"/>
                <a:gd name="T34" fmla="*/ 2147483646 w 5871"/>
                <a:gd name="T35" fmla="*/ 2147483646 h 5585"/>
                <a:gd name="T36" fmla="*/ 2147483646 w 5871"/>
                <a:gd name="T37" fmla="*/ 2147483646 h 5585"/>
                <a:gd name="T38" fmla="*/ 2147483646 w 5871"/>
                <a:gd name="T39" fmla="*/ 2147483646 h 5585"/>
                <a:gd name="T40" fmla="*/ 2147483646 w 5871"/>
                <a:gd name="T41" fmla="*/ 2147483646 h 5585"/>
                <a:gd name="T42" fmla="*/ 2147483646 w 5871"/>
                <a:gd name="T43" fmla="*/ 2147483646 h 5585"/>
                <a:gd name="T44" fmla="*/ 2147483646 w 5871"/>
                <a:gd name="T45" fmla="*/ 2147483646 h 5585"/>
                <a:gd name="T46" fmla="*/ 2147483646 w 5871"/>
                <a:gd name="T47" fmla="*/ 2147483646 h 5585"/>
                <a:gd name="T48" fmla="*/ 2147483646 w 5871"/>
                <a:gd name="T49" fmla="*/ 2147483646 h 5585"/>
                <a:gd name="T50" fmla="*/ 2147483646 w 5871"/>
                <a:gd name="T51" fmla="*/ 2147483646 h 5585"/>
                <a:gd name="T52" fmla="*/ 2147483646 w 5871"/>
                <a:gd name="T53" fmla="*/ 2147483646 h 5585"/>
                <a:gd name="T54" fmla="*/ 2147483646 w 5871"/>
                <a:gd name="T55" fmla="*/ 2147483646 h 5585"/>
                <a:gd name="T56" fmla="*/ 2147483646 w 5871"/>
                <a:gd name="T57" fmla="*/ 2147483646 h 5585"/>
                <a:gd name="T58" fmla="*/ 2147483646 w 5871"/>
                <a:gd name="T59" fmla="*/ 2147483646 h 5585"/>
                <a:gd name="T60" fmla="*/ 2147483646 w 5871"/>
                <a:gd name="T61" fmla="*/ 2147483646 h 5585"/>
                <a:gd name="T62" fmla="*/ 2147483646 w 5871"/>
                <a:gd name="T63" fmla="*/ 2147483646 h 5585"/>
                <a:gd name="T64" fmla="*/ 2147483646 w 5871"/>
                <a:gd name="T65" fmla="*/ 2147483646 h 5585"/>
                <a:gd name="T66" fmla="*/ 2147483646 w 5871"/>
                <a:gd name="T67" fmla="*/ 2147483646 h 5585"/>
                <a:gd name="T68" fmla="*/ 2147483646 w 5871"/>
                <a:gd name="T69" fmla="*/ 2147483646 h 5585"/>
                <a:gd name="T70" fmla="*/ 2147483646 w 5871"/>
                <a:gd name="T71" fmla="*/ 2147483646 h 5585"/>
                <a:gd name="T72" fmla="*/ 2147483646 w 5871"/>
                <a:gd name="T73" fmla="*/ 2147483646 h 5585"/>
                <a:gd name="T74" fmla="*/ 2147483646 w 5871"/>
                <a:gd name="T75" fmla="*/ 2147483646 h 5585"/>
                <a:gd name="T76" fmla="*/ 2147483646 w 5871"/>
                <a:gd name="T77" fmla="*/ 2147483646 h 5585"/>
                <a:gd name="T78" fmla="*/ 2147483646 w 5871"/>
                <a:gd name="T79" fmla="*/ 2147483646 h 5585"/>
                <a:gd name="T80" fmla="*/ 2147483646 w 5871"/>
                <a:gd name="T81" fmla="*/ 2147483646 h 5585"/>
                <a:gd name="T82" fmla="*/ 2147483646 w 5871"/>
                <a:gd name="T83" fmla="*/ 2147483646 h 5585"/>
                <a:gd name="T84" fmla="*/ 2147483646 w 5871"/>
                <a:gd name="T85" fmla="*/ 2147483646 h 5585"/>
                <a:gd name="T86" fmla="*/ 2147483646 w 5871"/>
                <a:gd name="T87" fmla="*/ 2147483646 h 5585"/>
                <a:gd name="T88" fmla="*/ 2147483646 w 5871"/>
                <a:gd name="T89" fmla="*/ 2147483646 h 5585"/>
                <a:gd name="T90" fmla="*/ 2147483646 w 5871"/>
                <a:gd name="T91" fmla="*/ 2147483646 h 5585"/>
                <a:gd name="T92" fmla="*/ 2147483646 w 5871"/>
                <a:gd name="T93" fmla="*/ 2147483646 h 5585"/>
                <a:gd name="T94" fmla="*/ 2147483646 w 5871"/>
                <a:gd name="T95" fmla="*/ 2147483646 h 5585"/>
                <a:gd name="T96" fmla="*/ 2147483646 w 5871"/>
                <a:gd name="T97" fmla="*/ 2147483646 h 5585"/>
                <a:gd name="T98" fmla="*/ 2147483646 w 5871"/>
                <a:gd name="T99" fmla="*/ 2147483646 h 5585"/>
                <a:gd name="T100" fmla="*/ 2147483646 w 5871"/>
                <a:gd name="T101" fmla="*/ 2147483646 h 5585"/>
                <a:gd name="T102" fmla="*/ 2147483646 w 5871"/>
                <a:gd name="T103" fmla="*/ 2147483646 h 5585"/>
                <a:gd name="T104" fmla="*/ 0 w 5871"/>
                <a:gd name="T105" fmla="*/ 2147483646 h 5585"/>
                <a:gd name="T106" fmla="*/ 2147483646 w 5871"/>
                <a:gd name="T107" fmla="*/ 0 h 5585"/>
                <a:gd name="T108" fmla="*/ 2147483646 w 5871"/>
                <a:gd name="T109" fmla="*/ 2147483646 h 5585"/>
                <a:gd name="T110" fmla="*/ 2147483646 w 5871"/>
                <a:gd name="T111" fmla="*/ 2147483646 h 55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871" h="5585">
                  <a:moveTo>
                    <a:pt x="774" y="374"/>
                  </a:moveTo>
                  <a:lnTo>
                    <a:pt x="774" y="1910"/>
                  </a:lnTo>
                  <a:lnTo>
                    <a:pt x="5107" y="1910"/>
                  </a:lnTo>
                  <a:lnTo>
                    <a:pt x="5107" y="374"/>
                  </a:lnTo>
                  <a:lnTo>
                    <a:pt x="774" y="374"/>
                  </a:lnTo>
                  <a:close/>
                  <a:moveTo>
                    <a:pt x="1597" y="3265"/>
                  </a:moveTo>
                  <a:lnTo>
                    <a:pt x="1597" y="3265"/>
                  </a:lnTo>
                  <a:lnTo>
                    <a:pt x="1591" y="3265"/>
                  </a:lnTo>
                  <a:lnTo>
                    <a:pt x="1587" y="3265"/>
                  </a:lnTo>
                  <a:lnTo>
                    <a:pt x="1586" y="3265"/>
                  </a:lnTo>
                  <a:lnTo>
                    <a:pt x="1581" y="3265"/>
                  </a:lnTo>
                  <a:lnTo>
                    <a:pt x="1576" y="3265"/>
                  </a:lnTo>
                  <a:lnTo>
                    <a:pt x="1571" y="3265"/>
                  </a:lnTo>
                  <a:lnTo>
                    <a:pt x="1570" y="3265"/>
                  </a:lnTo>
                  <a:lnTo>
                    <a:pt x="1566" y="3265"/>
                  </a:lnTo>
                  <a:lnTo>
                    <a:pt x="1560" y="3265"/>
                  </a:lnTo>
                  <a:lnTo>
                    <a:pt x="1555" y="3265"/>
                  </a:lnTo>
                  <a:lnTo>
                    <a:pt x="1550" y="3265"/>
                  </a:lnTo>
                  <a:lnTo>
                    <a:pt x="1545" y="3265"/>
                  </a:lnTo>
                  <a:lnTo>
                    <a:pt x="1540" y="3265"/>
                  </a:lnTo>
                  <a:lnTo>
                    <a:pt x="1539" y="3265"/>
                  </a:lnTo>
                  <a:lnTo>
                    <a:pt x="1535" y="3265"/>
                  </a:lnTo>
                  <a:lnTo>
                    <a:pt x="1529" y="3265"/>
                  </a:lnTo>
                  <a:lnTo>
                    <a:pt x="1525" y="3265"/>
                  </a:lnTo>
                  <a:lnTo>
                    <a:pt x="1524" y="3265"/>
                  </a:lnTo>
                  <a:lnTo>
                    <a:pt x="1519" y="3265"/>
                  </a:lnTo>
                  <a:lnTo>
                    <a:pt x="1514" y="3265"/>
                  </a:lnTo>
                  <a:lnTo>
                    <a:pt x="1509" y="3265"/>
                  </a:lnTo>
                  <a:lnTo>
                    <a:pt x="1508" y="3265"/>
                  </a:lnTo>
                  <a:lnTo>
                    <a:pt x="1504" y="3265"/>
                  </a:lnTo>
                  <a:lnTo>
                    <a:pt x="1498" y="3265"/>
                  </a:lnTo>
                  <a:lnTo>
                    <a:pt x="1494" y="3265"/>
                  </a:lnTo>
                  <a:lnTo>
                    <a:pt x="1493" y="3265"/>
                  </a:lnTo>
                  <a:lnTo>
                    <a:pt x="1488" y="3265"/>
                  </a:lnTo>
                  <a:lnTo>
                    <a:pt x="1483" y="3265"/>
                  </a:lnTo>
                  <a:lnTo>
                    <a:pt x="1478" y="3265"/>
                  </a:lnTo>
                  <a:lnTo>
                    <a:pt x="1477" y="3265"/>
                  </a:lnTo>
                  <a:lnTo>
                    <a:pt x="1473" y="3265"/>
                  </a:lnTo>
                  <a:lnTo>
                    <a:pt x="1467" y="3265"/>
                  </a:lnTo>
                  <a:lnTo>
                    <a:pt x="1463" y="3265"/>
                  </a:lnTo>
                  <a:lnTo>
                    <a:pt x="1462" y="3265"/>
                  </a:lnTo>
                  <a:lnTo>
                    <a:pt x="1457" y="3265"/>
                  </a:lnTo>
                  <a:lnTo>
                    <a:pt x="1452" y="3265"/>
                  </a:lnTo>
                  <a:lnTo>
                    <a:pt x="1446" y="3265"/>
                  </a:lnTo>
                  <a:lnTo>
                    <a:pt x="1442" y="3265"/>
                  </a:lnTo>
                  <a:lnTo>
                    <a:pt x="1266" y="3265"/>
                  </a:lnTo>
                  <a:lnTo>
                    <a:pt x="1345" y="3830"/>
                  </a:lnTo>
                  <a:lnTo>
                    <a:pt x="1294" y="3911"/>
                  </a:lnTo>
                  <a:lnTo>
                    <a:pt x="1345" y="3977"/>
                  </a:lnTo>
                  <a:lnTo>
                    <a:pt x="1117" y="4116"/>
                  </a:lnTo>
                  <a:lnTo>
                    <a:pt x="1112" y="4144"/>
                  </a:lnTo>
                  <a:lnTo>
                    <a:pt x="1106" y="4173"/>
                  </a:lnTo>
                  <a:lnTo>
                    <a:pt x="1103" y="4201"/>
                  </a:lnTo>
                  <a:lnTo>
                    <a:pt x="1099" y="4228"/>
                  </a:lnTo>
                  <a:lnTo>
                    <a:pt x="1097" y="4255"/>
                  </a:lnTo>
                  <a:lnTo>
                    <a:pt x="1096" y="4281"/>
                  </a:lnTo>
                  <a:lnTo>
                    <a:pt x="1096" y="4308"/>
                  </a:lnTo>
                  <a:lnTo>
                    <a:pt x="1096" y="4333"/>
                  </a:lnTo>
                  <a:lnTo>
                    <a:pt x="1097" y="4359"/>
                  </a:lnTo>
                  <a:lnTo>
                    <a:pt x="1098" y="4383"/>
                  </a:lnTo>
                  <a:lnTo>
                    <a:pt x="1100" y="4407"/>
                  </a:lnTo>
                  <a:lnTo>
                    <a:pt x="1104" y="4432"/>
                  </a:lnTo>
                  <a:lnTo>
                    <a:pt x="1112" y="4478"/>
                  </a:lnTo>
                  <a:lnTo>
                    <a:pt x="1121" y="4523"/>
                  </a:lnTo>
                  <a:lnTo>
                    <a:pt x="1133" y="4568"/>
                  </a:lnTo>
                  <a:lnTo>
                    <a:pt x="1147" y="4611"/>
                  </a:lnTo>
                  <a:lnTo>
                    <a:pt x="1162" y="4653"/>
                  </a:lnTo>
                  <a:lnTo>
                    <a:pt x="1179" y="4694"/>
                  </a:lnTo>
                  <a:lnTo>
                    <a:pt x="1198" y="4733"/>
                  </a:lnTo>
                  <a:lnTo>
                    <a:pt x="1218" y="4772"/>
                  </a:lnTo>
                  <a:lnTo>
                    <a:pt x="1238" y="4812"/>
                  </a:lnTo>
                  <a:lnTo>
                    <a:pt x="1259" y="4849"/>
                  </a:lnTo>
                  <a:lnTo>
                    <a:pt x="774" y="4849"/>
                  </a:lnTo>
                  <a:lnTo>
                    <a:pt x="774" y="2135"/>
                  </a:lnTo>
                  <a:lnTo>
                    <a:pt x="2185" y="2135"/>
                  </a:lnTo>
                  <a:lnTo>
                    <a:pt x="2185" y="4849"/>
                  </a:lnTo>
                  <a:lnTo>
                    <a:pt x="1780" y="4849"/>
                  </a:lnTo>
                  <a:lnTo>
                    <a:pt x="1801" y="4812"/>
                  </a:lnTo>
                  <a:lnTo>
                    <a:pt x="1821" y="4772"/>
                  </a:lnTo>
                  <a:lnTo>
                    <a:pt x="1841" y="4733"/>
                  </a:lnTo>
                  <a:lnTo>
                    <a:pt x="1859" y="4694"/>
                  </a:lnTo>
                  <a:lnTo>
                    <a:pt x="1876" y="4653"/>
                  </a:lnTo>
                  <a:lnTo>
                    <a:pt x="1892" y="4611"/>
                  </a:lnTo>
                  <a:lnTo>
                    <a:pt x="1905" y="4568"/>
                  </a:lnTo>
                  <a:lnTo>
                    <a:pt x="1917" y="4523"/>
                  </a:lnTo>
                  <a:lnTo>
                    <a:pt x="1927" y="4478"/>
                  </a:lnTo>
                  <a:lnTo>
                    <a:pt x="1935" y="4432"/>
                  </a:lnTo>
                  <a:lnTo>
                    <a:pt x="1938" y="4407"/>
                  </a:lnTo>
                  <a:lnTo>
                    <a:pt x="1941" y="4383"/>
                  </a:lnTo>
                  <a:lnTo>
                    <a:pt x="1942" y="4359"/>
                  </a:lnTo>
                  <a:lnTo>
                    <a:pt x="1943" y="4333"/>
                  </a:lnTo>
                  <a:lnTo>
                    <a:pt x="1943" y="4308"/>
                  </a:lnTo>
                  <a:lnTo>
                    <a:pt x="1942" y="4281"/>
                  </a:lnTo>
                  <a:lnTo>
                    <a:pt x="1941" y="4255"/>
                  </a:lnTo>
                  <a:lnTo>
                    <a:pt x="1938" y="4228"/>
                  </a:lnTo>
                  <a:lnTo>
                    <a:pt x="1936" y="4201"/>
                  </a:lnTo>
                  <a:lnTo>
                    <a:pt x="1932" y="4173"/>
                  </a:lnTo>
                  <a:lnTo>
                    <a:pt x="1927" y="4144"/>
                  </a:lnTo>
                  <a:lnTo>
                    <a:pt x="1922" y="4116"/>
                  </a:lnTo>
                  <a:lnTo>
                    <a:pt x="1694" y="3977"/>
                  </a:lnTo>
                  <a:lnTo>
                    <a:pt x="1745" y="3911"/>
                  </a:lnTo>
                  <a:lnTo>
                    <a:pt x="1694" y="3830"/>
                  </a:lnTo>
                  <a:lnTo>
                    <a:pt x="1771" y="3265"/>
                  </a:lnTo>
                  <a:lnTo>
                    <a:pt x="1597" y="3265"/>
                  </a:lnTo>
                  <a:close/>
                  <a:moveTo>
                    <a:pt x="4819" y="863"/>
                  </a:moveTo>
                  <a:lnTo>
                    <a:pt x="4819" y="1057"/>
                  </a:lnTo>
                  <a:lnTo>
                    <a:pt x="3585" y="1057"/>
                  </a:lnTo>
                  <a:lnTo>
                    <a:pt x="3585" y="863"/>
                  </a:lnTo>
                  <a:lnTo>
                    <a:pt x="4819" y="863"/>
                  </a:lnTo>
                  <a:close/>
                  <a:moveTo>
                    <a:pt x="5002" y="1108"/>
                  </a:moveTo>
                  <a:lnTo>
                    <a:pt x="5002" y="1379"/>
                  </a:lnTo>
                  <a:lnTo>
                    <a:pt x="3769" y="1379"/>
                  </a:lnTo>
                  <a:lnTo>
                    <a:pt x="3769" y="1108"/>
                  </a:lnTo>
                  <a:lnTo>
                    <a:pt x="5002" y="1108"/>
                  </a:lnTo>
                  <a:close/>
                  <a:moveTo>
                    <a:pt x="4891" y="1429"/>
                  </a:moveTo>
                  <a:lnTo>
                    <a:pt x="4891" y="1623"/>
                  </a:lnTo>
                  <a:lnTo>
                    <a:pt x="3657" y="1623"/>
                  </a:lnTo>
                  <a:lnTo>
                    <a:pt x="3657" y="1429"/>
                  </a:lnTo>
                  <a:lnTo>
                    <a:pt x="4891" y="1429"/>
                  </a:lnTo>
                  <a:close/>
                  <a:moveTo>
                    <a:pt x="4977" y="1659"/>
                  </a:moveTo>
                  <a:lnTo>
                    <a:pt x="4977" y="1853"/>
                  </a:lnTo>
                  <a:lnTo>
                    <a:pt x="3743" y="1853"/>
                  </a:lnTo>
                  <a:lnTo>
                    <a:pt x="3743" y="1659"/>
                  </a:lnTo>
                  <a:lnTo>
                    <a:pt x="4977" y="1659"/>
                  </a:lnTo>
                  <a:close/>
                  <a:moveTo>
                    <a:pt x="1643" y="596"/>
                  </a:moveTo>
                  <a:lnTo>
                    <a:pt x="1833" y="561"/>
                  </a:lnTo>
                  <a:lnTo>
                    <a:pt x="2061" y="1773"/>
                  </a:lnTo>
                  <a:lnTo>
                    <a:pt x="1871" y="1809"/>
                  </a:lnTo>
                  <a:lnTo>
                    <a:pt x="1643" y="596"/>
                  </a:lnTo>
                  <a:close/>
                  <a:moveTo>
                    <a:pt x="1388" y="596"/>
                  </a:moveTo>
                  <a:lnTo>
                    <a:pt x="1579" y="561"/>
                  </a:lnTo>
                  <a:lnTo>
                    <a:pt x="1807" y="1773"/>
                  </a:lnTo>
                  <a:lnTo>
                    <a:pt x="1616" y="1809"/>
                  </a:lnTo>
                  <a:lnTo>
                    <a:pt x="1388" y="596"/>
                  </a:lnTo>
                  <a:close/>
                  <a:moveTo>
                    <a:pt x="1134" y="596"/>
                  </a:moveTo>
                  <a:lnTo>
                    <a:pt x="1324" y="561"/>
                  </a:lnTo>
                  <a:lnTo>
                    <a:pt x="1551" y="1773"/>
                  </a:lnTo>
                  <a:lnTo>
                    <a:pt x="1361" y="1809"/>
                  </a:lnTo>
                  <a:lnTo>
                    <a:pt x="1134" y="596"/>
                  </a:lnTo>
                  <a:close/>
                  <a:moveTo>
                    <a:pt x="884" y="568"/>
                  </a:moveTo>
                  <a:lnTo>
                    <a:pt x="1077" y="568"/>
                  </a:lnTo>
                  <a:lnTo>
                    <a:pt x="1077" y="1802"/>
                  </a:lnTo>
                  <a:lnTo>
                    <a:pt x="884" y="1802"/>
                  </a:lnTo>
                  <a:lnTo>
                    <a:pt x="884" y="568"/>
                  </a:lnTo>
                  <a:close/>
                  <a:moveTo>
                    <a:pt x="3540" y="2418"/>
                  </a:moveTo>
                  <a:lnTo>
                    <a:pt x="3807" y="2354"/>
                  </a:lnTo>
                  <a:lnTo>
                    <a:pt x="4033" y="3306"/>
                  </a:lnTo>
                  <a:lnTo>
                    <a:pt x="3765" y="3369"/>
                  </a:lnTo>
                  <a:lnTo>
                    <a:pt x="3540" y="2418"/>
                  </a:lnTo>
                  <a:close/>
                  <a:moveTo>
                    <a:pt x="3622" y="2531"/>
                  </a:moveTo>
                  <a:lnTo>
                    <a:pt x="3639" y="2606"/>
                  </a:lnTo>
                  <a:lnTo>
                    <a:pt x="3791" y="2570"/>
                  </a:lnTo>
                  <a:lnTo>
                    <a:pt x="3773" y="2496"/>
                  </a:lnTo>
                  <a:lnTo>
                    <a:pt x="3622" y="2531"/>
                  </a:lnTo>
                  <a:close/>
                  <a:moveTo>
                    <a:pt x="3739" y="3028"/>
                  </a:moveTo>
                  <a:lnTo>
                    <a:pt x="3776" y="3184"/>
                  </a:lnTo>
                  <a:lnTo>
                    <a:pt x="3928" y="3148"/>
                  </a:lnTo>
                  <a:lnTo>
                    <a:pt x="3890" y="2991"/>
                  </a:lnTo>
                  <a:lnTo>
                    <a:pt x="3739" y="3028"/>
                  </a:lnTo>
                  <a:close/>
                  <a:moveTo>
                    <a:pt x="3193" y="2418"/>
                  </a:moveTo>
                  <a:lnTo>
                    <a:pt x="3418" y="3369"/>
                  </a:lnTo>
                  <a:lnTo>
                    <a:pt x="3687" y="3306"/>
                  </a:lnTo>
                  <a:lnTo>
                    <a:pt x="3461" y="2354"/>
                  </a:lnTo>
                  <a:lnTo>
                    <a:pt x="3193" y="2418"/>
                  </a:lnTo>
                  <a:close/>
                  <a:moveTo>
                    <a:pt x="3276" y="2531"/>
                  </a:moveTo>
                  <a:lnTo>
                    <a:pt x="3426" y="2496"/>
                  </a:lnTo>
                  <a:lnTo>
                    <a:pt x="3444" y="2570"/>
                  </a:lnTo>
                  <a:lnTo>
                    <a:pt x="3292" y="2606"/>
                  </a:lnTo>
                  <a:lnTo>
                    <a:pt x="3276" y="2531"/>
                  </a:lnTo>
                  <a:close/>
                  <a:moveTo>
                    <a:pt x="3393" y="3028"/>
                  </a:moveTo>
                  <a:lnTo>
                    <a:pt x="3429" y="3184"/>
                  </a:lnTo>
                  <a:lnTo>
                    <a:pt x="3581" y="3148"/>
                  </a:lnTo>
                  <a:lnTo>
                    <a:pt x="3544" y="2991"/>
                  </a:lnTo>
                  <a:lnTo>
                    <a:pt x="3393" y="3028"/>
                  </a:lnTo>
                  <a:close/>
                  <a:moveTo>
                    <a:pt x="2841" y="2418"/>
                  </a:moveTo>
                  <a:lnTo>
                    <a:pt x="3109" y="2354"/>
                  </a:lnTo>
                  <a:lnTo>
                    <a:pt x="3335" y="3306"/>
                  </a:lnTo>
                  <a:lnTo>
                    <a:pt x="3067" y="3369"/>
                  </a:lnTo>
                  <a:lnTo>
                    <a:pt x="2841" y="2418"/>
                  </a:lnTo>
                  <a:close/>
                  <a:moveTo>
                    <a:pt x="2923" y="2531"/>
                  </a:moveTo>
                  <a:lnTo>
                    <a:pt x="2941" y="2606"/>
                  </a:lnTo>
                  <a:lnTo>
                    <a:pt x="3092" y="2570"/>
                  </a:lnTo>
                  <a:lnTo>
                    <a:pt x="3075" y="2496"/>
                  </a:lnTo>
                  <a:lnTo>
                    <a:pt x="2923" y="2531"/>
                  </a:lnTo>
                  <a:close/>
                  <a:moveTo>
                    <a:pt x="3041" y="3028"/>
                  </a:moveTo>
                  <a:lnTo>
                    <a:pt x="3192" y="2991"/>
                  </a:lnTo>
                  <a:lnTo>
                    <a:pt x="3229" y="3148"/>
                  </a:lnTo>
                  <a:lnTo>
                    <a:pt x="3078" y="3184"/>
                  </a:lnTo>
                  <a:lnTo>
                    <a:pt x="3041" y="3028"/>
                  </a:lnTo>
                  <a:close/>
                  <a:moveTo>
                    <a:pt x="2553" y="2372"/>
                  </a:moveTo>
                  <a:lnTo>
                    <a:pt x="2828" y="2372"/>
                  </a:lnTo>
                  <a:lnTo>
                    <a:pt x="2828" y="3352"/>
                  </a:lnTo>
                  <a:lnTo>
                    <a:pt x="2553" y="3352"/>
                  </a:lnTo>
                  <a:lnTo>
                    <a:pt x="2553" y="2372"/>
                  </a:lnTo>
                  <a:close/>
                  <a:moveTo>
                    <a:pt x="2606" y="2503"/>
                  </a:moveTo>
                  <a:lnTo>
                    <a:pt x="2606" y="2579"/>
                  </a:lnTo>
                  <a:lnTo>
                    <a:pt x="2762" y="2579"/>
                  </a:lnTo>
                  <a:lnTo>
                    <a:pt x="2762" y="2503"/>
                  </a:lnTo>
                  <a:lnTo>
                    <a:pt x="2606" y="2503"/>
                  </a:lnTo>
                  <a:close/>
                  <a:moveTo>
                    <a:pt x="2606" y="3012"/>
                  </a:moveTo>
                  <a:lnTo>
                    <a:pt x="2606" y="3173"/>
                  </a:lnTo>
                  <a:lnTo>
                    <a:pt x="2762" y="3173"/>
                  </a:lnTo>
                  <a:lnTo>
                    <a:pt x="2762" y="3012"/>
                  </a:lnTo>
                  <a:lnTo>
                    <a:pt x="2606" y="3012"/>
                  </a:lnTo>
                  <a:close/>
                  <a:moveTo>
                    <a:pt x="5555" y="151"/>
                  </a:moveTo>
                  <a:lnTo>
                    <a:pt x="5555" y="374"/>
                  </a:lnTo>
                  <a:lnTo>
                    <a:pt x="5555" y="4849"/>
                  </a:lnTo>
                  <a:lnTo>
                    <a:pt x="5871" y="4849"/>
                  </a:lnTo>
                  <a:lnTo>
                    <a:pt x="5871" y="5585"/>
                  </a:lnTo>
                  <a:lnTo>
                    <a:pt x="0" y="5585"/>
                  </a:lnTo>
                  <a:lnTo>
                    <a:pt x="0" y="4849"/>
                  </a:lnTo>
                  <a:lnTo>
                    <a:pt x="326" y="4849"/>
                  </a:lnTo>
                  <a:lnTo>
                    <a:pt x="326" y="374"/>
                  </a:lnTo>
                  <a:lnTo>
                    <a:pt x="326" y="151"/>
                  </a:lnTo>
                  <a:lnTo>
                    <a:pt x="326" y="0"/>
                  </a:lnTo>
                  <a:lnTo>
                    <a:pt x="5555" y="0"/>
                  </a:lnTo>
                  <a:lnTo>
                    <a:pt x="5555" y="151"/>
                  </a:lnTo>
                  <a:close/>
                  <a:moveTo>
                    <a:pt x="2409" y="2135"/>
                  </a:moveTo>
                  <a:lnTo>
                    <a:pt x="2409" y="3385"/>
                  </a:lnTo>
                  <a:lnTo>
                    <a:pt x="5107" y="3385"/>
                  </a:lnTo>
                  <a:lnTo>
                    <a:pt x="5107" y="2135"/>
                  </a:lnTo>
                  <a:lnTo>
                    <a:pt x="2409" y="2135"/>
                  </a:lnTo>
                  <a:close/>
                  <a:moveTo>
                    <a:pt x="2409" y="3609"/>
                  </a:moveTo>
                  <a:lnTo>
                    <a:pt x="2409" y="4849"/>
                  </a:lnTo>
                  <a:lnTo>
                    <a:pt x="5107" y="4849"/>
                  </a:lnTo>
                  <a:lnTo>
                    <a:pt x="5107" y="3609"/>
                  </a:lnTo>
                  <a:lnTo>
                    <a:pt x="2409" y="36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15" name="ïṩḷíḋè"/>
          <p:cNvGrpSpPr/>
          <p:nvPr/>
        </p:nvGrpSpPr>
        <p:grpSpPr>
          <a:xfrm>
            <a:off x="947428" y="4242640"/>
            <a:ext cx="2481976" cy="907941"/>
            <a:chOff x="1343472" y="2022210"/>
            <a:chExt cx="2628292" cy="907941"/>
          </a:xfrm>
        </p:grpSpPr>
        <p:sp>
          <p:nvSpPr>
            <p:cNvPr id="26" name="ï$ḷïdè"/>
            <p:cNvSpPr txBox="1"/>
            <p:nvPr/>
          </p:nvSpPr>
          <p:spPr>
            <a:xfrm>
              <a:off x="1763070" y="2022210"/>
              <a:ext cx="1827302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1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b="1" dirty="0"/>
                <a:t>工作分配情况</a:t>
              </a:r>
              <a:endParaRPr lang="en-US" altLang="zh-CN" b="1" dirty="0"/>
            </a:p>
          </p:txBody>
        </p:sp>
        <p:sp>
          <p:nvSpPr>
            <p:cNvPr id="27" name="íṣḷïḑe"/>
            <p:cNvSpPr txBox="1"/>
            <p:nvPr/>
          </p:nvSpPr>
          <p:spPr>
            <a:xfrm>
              <a:off x="1343472" y="2468486"/>
              <a:ext cx="2628292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/>
            </a:p>
          </p:txBody>
        </p:sp>
      </p:grpSp>
      <p:grpSp>
        <p:nvGrpSpPr>
          <p:cNvPr id="17" name="îṩḷîḋé"/>
          <p:cNvGrpSpPr/>
          <p:nvPr/>
        </p:nvGrpSpPr>
        <p:grpSpPr>
          <a:xfrm>
            <a:off x="6088825" y="4127059"/>
            <a:ext cx="2846637" cy="1032238"/>
            <a:chOff x="1270706" y="1897913"/>
            <a:chExt cx="3014450" cy="1032238"/>
          </a:xfrm>
        </p:grpSpPr>
        <p:sp>
          <p:nvSpPr>
            <p:cNvPr id="22" name="îṣ1íḑe"/>
            <p:cNvSpPr txBox="1"/>
            <p:nvPr/>
          </p:nvSpPr>
          <p:spPr>
            <a:xfrm>
              <a:off x="1270706" y="1897913"/>
              <a:ext cx="3014450" cy="58308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1">
              <a:normAutofit fontScale="92500"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b="1" dirty="0"/>
                <a:t>设计过程、问题及解决方案</a:t>
              </a:r>
              <a:endParaRPr lang="zh-CN" altLang="en-US" b="1" dirty="0"/>
            </a:p>
          </p:txBody>
        </p:sp>
        <p:sp>
          <p:nvSpPr>
            <p:cNvPr id="23" name="ïsľïdé"/>
            <p:cNvSpPr txBox="1"/>
            <p:nvPr/>
          </p:nvSpPr>
          <p:spPr>
            <a:xfrm>
              <a:off x="1343472" y="2468486"/>
              <a:ext cx="2628292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/>
            </a:p>
          </p:txBody>
        </p:sp>
      </p:grpSp>
      <p:sp>
        <p:nvSpPr>
          <p:cNvPr id="19" name="îsļiḓe"/>
          <p:cNvSpPr/>
          <p:nvPr/>
        </p:nvSpPr>
        <p:spPr>
          <a:xfrm>
            <a:off x="5012210" y="1123949"/>
            <a:ext cx="2167581" cy="815797"/>
          </a:xfrm>
          <a:prstGeom prst="rect">
            <a:avLst/>
          </a:prstGeom>
        </p:spPr>
        <p:txBody>
          <a:bodyPr wrap="square" lIns="91440" tIns="45720" rIns="91440" bIns="45720">
            <a:normAutofit fontScale="85000" lnSpcReduction="20000"/>
          </a:bodyPr>
          <a:lstStyle/>
          <a:p>
            <a:pPr lvl="0" algn="ctr"/>
            <a:r>
              <a:rPr lang="zh-CN" altLang="en-US" sz="3300" b="1" dirty="0">
                <a:solidFill>
                  <a:schemeClr val="bg1"/>
                </a:solidFill>
              </a:rPr>
              <a:t>目录</a:t>
            </a:r>
            <a:br>
              <a:rPr lang="zh-CN" altLang="en-US" sz="3200" b="1" dirty="0">
                <a:solidFill>
                  <a:schemeClr val="bg1"/>
                </a:solidFill>
              </a:rPr>
            </a:br>
            <a:r>
              <a:rPr lang="en-US" altLang="zh-CN" sz="3200" b="1" dirty="0">
                <a:solidFill>
                  <a:schemeClr val="bg1"/>
                </a:solidFill>
              </a:rPr>
              <a:t>CONTENT</a:t>
            </a:r>
            <a:endParaRPr lang="en-US" altLang="zh-CN" sz="32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Tm="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457327" y="1270907"/>
            <a:ext cx="5419185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工作分配情况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38342" y="2243769"/>
            <a:ext cx="5419185" cy="1015623"/>
          </a:xfrm>
        </p:spPr>
        <p:txBody>
          <a:bodyPr/>
          <a:lstStyle/>
          <a:p>
            <a:r>
              <a:rPr lang="en-US" altLang="zh-CN" dirty="0"/>
              <a:t>Assignment details</a:t>
            </a:r>
            <a:endParaRPr lang="en-US" altLang="zh-CN" dirty="0"/>
          </a:p>
          <a:p>
            <a:pPr lvl="0"/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31446" y="1813471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1901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1190171" y="3077028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Tm="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ïŝ1íďe"/>
          <p:cNvSpPr/>
          <p:nvPr/>
        </p:nvSpPr>
        <p:spPr>
          <a:xfrm>
            <a:off x="-37739" y="-19408"/>
            <a:ext cx="7238282" cy="6858000"/>
          </a:xfrm>
          <a:custGeom>
            <a:avLst/>
            <a:gdLst/>
            <a:ahLst/>
            <a:cxnLst/>
            <a:rect l="l" t="t" r="r" b="b"/>
            <a:pathLst>
              <a:path w="7238282" h="6858000" extrusionOk="0">
                <a:moveTo>
                  <a:pt x="3228103" y="0"/>
                </a:moveTo>
                <a:lnTo>
                  <a:pt x="7238282" y="0"/>
                </a:lnTo>
                <a:lnTo>
                  <a:pt x="1703396" y="6858000"/>
                </a:lnTo>
                <a:lnTo>
                  <a:pt x="0" y="6858000"/>
                </a:lnTo>
                <a:lnTo>
                  <a:pt x="0" y="3999781"/>
                </a:lnTo>
                <a:close/>
              </a:path>
            </a:pathLst>
          </a:custGeom>
          <a:blipFill>
            <a:blip r:embed="rId1"/>
            <a:stretch>
              <a:fillRect/>
            </a:stretch>
          </a:blipFill>
          <a:ln w="12700">
            <a:solidFill>
              <a:schemeClr val="bg1">
                <a:lumMod val="85000"/>
              </a:schemeClr>
            </a:solidFill>
            <a:prstDash val="sysDash"/>
          </a:ln>
          <a:effectLst>
            <a:outerShdw dist="38100" dir="2700000" algn="tl" rotWithShape="0">
              <a:prstClr val="black">
                <a:alpha val="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sz="1400" b="1" i="1">
              <a:solidFill>
                <a:schemeClr val="accent1"/>
              </a:solidFill>
            </a:endParaRPr>
          </a:p>
        </p:txBody>
      </p:sp>
      <p:sp>
        <p:nvSpPr>
          <p:cNvPr id="7" name="iṩľïďê"/>
          <p:cNvSpPr txBox="1"/>
          <p:nvPr/>
        </p:nvSpPr>
        <p:spPr>
          <a:xfrm>
            <a:off x="655167" y="1533686"/>
            <a:ext cx="4074038" cy="52322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altLang="zh-CN" sz="2000" b="1" dirty="0"/>
          </a:p>
        </p:txBody>
      </p:sp>
      <p:cxnSp>
        <p:nvCxnSpPr>
          <p:cNvPr id="8" name="直接连接符 7"/>
          <p:cNvCxnSpPr/>
          <p:nvPr/>
        </p:nvCxnSpPr>
        <p:spPr>
          <a:xfrm>
            <a:off x="5762124" y="4905454"/>
            <a:ext cx="571023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906712" y="3658483"/>
            <a:ext cx="45656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8047868" y="2411512"/>
            <a:ext cx="342449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iślïďe"/>
          <p:cNvGrpSpPr/>
          <p:nvPr/>
        </p:nvGrpSpPr>
        <p:grpSpPr>
          <a:xfrm>
            <a:off x="6679923" y="1455700"/>
            <a:ext cx="4856910" cy="504703"/>
            <a:chOff x="6728049" y="1359448"/>
            <a:chExt cx="4856910" cy="504703"/>
          </a:xfrm>
        </p:grpSpPr>
        <p:sp>
          <p:nvSpPr>
            <p:cNvPr id="43" name="íślïďê"/>
            <p:cNvSpPr txBox="1"/>
            <p:nvPr/>
          </p:nvSpPr>
          <p:spPr bwMode="auto">
            <a:xfrm>
              <a:off x="6728049" y="1359448"/>
              <a:ext cx="4856910" cy="360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/>
                <a:t>算法实现：五个人每个人写了一个</a:t>
              </a:r>
              <a:r>
                <a:rPr lang="en-US" altLang="zh-CN" b="1" dirty="0"/>
                <a:t>demo</a:t>
              </a:r>
              <a:endParaRPr lang="en-US" altLang="zh-CN" b="1" dirty="0"/>
            </a:p>
          </p:txBody>
        </p:sp>
        <p:sp>
          <p:nvSpPr>
            <p:cNvPr id="41" name="îšļîďê"/>
            <p:cNvSpPr/>
            <p:nvPr/>
          </p:nvSpPr>
          <p:spPr>
            <a:xfrm>
              <a:off x="7138341" y="1519397"/>
              <a:ext cx="328752" cy="344754"/>
            </a:xfrm>
            <a:custGeom>
              <a:avLst/>
              <a:gdLst>
                <a:gd name="connsiteX0" fmla="*/ 271981 w 578354"/>
                <a:gd name="connsiteY0" fmla="*/ 340887 h 606510"/>
                <a:gd name="connsiteX1" fmla="*/ 256365 w 578354"/>
                <a:gd name="connsiteY1" fmla="*/ 346409 h 606510"/>
                <a:gd name="connsiteX2" fmla="*/ 251051 w 578354"/>
                <a:gd name="connsiteY2" fmla="*/ 352798 h 606510"/>
                <a:gd name="connsiteX3" fmla="*/ 251051 w 578354"/>
                <a:gd name="connsiteY3" fmla="*/ 368716 h 606510"/>
                <a:gd name="connsiteX4" fmla="*/ 248665 w 578354"/>
                <a:gd name="connsiteY4" fmla="*/ 370449 h 606510"/>
                <a:gd name="connsiteX5" fmla="*/ 247038 w 578354"/>
                <a:gd name="connsiteY5" fmla="*/ 375322 h 606510"/>
                <a:gd name="connsiteX6" fmla="*/ 250509 w 578354"/>
                <a:gd name="connsiteY6" fmla="*/ 409431 h 606510"/>
                <a:gd name="connsiteX7" fmla="*/ 255172 w 578354"/>
                <a:gd name="connsiteY7" fmla="*/ 414954 h 606510"/>
                <a:gd name="connsiteX8" fmla="*/ 256907 w 578354"/>
                <a:gd name="connsiteY8" fmla="*/ 415170 h 606510"/>
                <a:gd name="connsiteX9" fmla="*/ 262004 w 578354"/>
                <a:gd name="connsiteY9" fmla="*/ 412572 h 606510"/>
                <a:gd name="connsiteX10" fmla="*/ 280114 w 578354"/>
                <a:gd name="connsiteY10" fmla="*/ 388749 h 606510"/>
                <a:gd name="connsiteX11" fmla="*/ 281307 w 578354"/>
                <a:gd name="connsiteY11" fmla="*/ 384851 h 606510"/>
                <a:gd name="connsiteX12" fmla="*/ 281307 w 578354"/>
                <a:gd name="connsiteY12" fmla="*/ 346626 h 606510"/>
                <a:gd name="connsiteX13" fmla="*/ 278270 w 578354"/>
                <a:gd name="connsiteY13" fmla="*/ 341104 h 606510"/>
                <a:gd name="connsiteX14" fmla="*/ 271981 w 578354"/>
                <a:gd name="connsiteY14" fmla="*/ 340887 h 606510"/>
                <a:gd name="connsiteX15" fmla="*/ 190755 w 578354"/>
                <a:gd name="connsiteY15" fmla="*/ 340887 h 606510"/>
                <a:gd name="connsiteX16" fmla="*/ 184357 w 578354"/>
                <a:gd name="connsiteY16" fmla="*/ 341104 h 606510"/>
                <a:gd name="connsiteX17" fmla="*/ 181321 w 578354"/>
                <a:gd name="connsiteY17" fmla="*/ 346626 h 606510"/>
                <a:gd name="connsiteX18" fmla="*/ 181212 w 578354"/>
                <a:gd name="connsiteY18" fmla="*/ 384851 h 606510"/>
                <a:gd name="connsiteX19" fmla="*/ 182513 w 578354"/>
                <a:gd name="connsiteY19" fmla="*/ 388749 h 606510"/>
                <a:gd name="connsiteX20" fmla="*/ 200624 w 578354"/>
                <a:gd name="connsiteY20" fmla="*/ 412680 h 606510"/>
                <a:gd name="connsiteX21" fmla="*/ 205721 w 578354"/>
                <a:gd name="connsiteY21" fmla="*/ 415170 h 606510"/>
                <a:gd name="connsiteX22" fmla="*/ 207456 w 578354"/>
                <a:gd name="connsiteY22" fmla="*/ 414954 h 606510"/>
                <a:gd name="connsiteX23" fmla="*/ 212119 w 578354"/>
                <a:gd name="connsiteY23" fmla="*/ 409431 h 606510"/>
                <a:gd name="connsiteX24" fmla="*/ 215589 w 578354"/>
                <a:gd name="connsiteY24" fmla="*/ 375322 h 606510"/>
                <a:gd name="connsiteX25" fmla="*/ 213963 w 578354"/>
                <a:gd name="connsiteY25" fmla="*/ 370449 h 606510"/>
                <a:gd name="connsiteX26" fmla="*/ 211577 w 578354"/>
                <a:gd name="connsiteY26" fmla="*/ 368716 h 606510"/>
                <a:gd name="connsiteX27" fmla="*/ 211577 w 578354"/>
                <a:gd name="connsiteY27" fmla="*/ 352798 h 606510"/>
                <a:gd name="connsiteX28" fmla="*/ 206263 w 578354"/>
                <a:gd name="connsiteY28" fmla="*/ 346409 h 606510"/>
                <a:gd name="connsiteX29" fmla="*/ 190755 w 578354"/>
                <a:gd name="connsiteY29" fmla="*/ 340887 h 606510"/>
                <a:gd name="connsiteX30" fmla="*/ 200624 w 578354"/>
                <a:gd name="connsiteY30" fmla="*/ 168497 h 606510"/>
                <a:gd name="connsiteX31" fmla="*/ 156161 w 578354"/>
                <a:gd name="connsiteY31" fmla="*/ 180300 h 606510"/>
                <a:gd name="connsiteX32" fmla="*/ 152583 w 578354"/>
                <a:gd name="connsiteY32" fmla="*/ 186039 h 606510"/>
                <a:gd name="connsiteX33" fmla="*/ 152583 w 578354"/>
                <a:gd name="connsiteY33" fmla="*/ 197518 h 606510"/>
                <a:gd name="connsiteX34" fmla="*/ 149980 w 578354"/>
                <a:gd name="connsiteY34" fmla="*/ 197518 h 606510"/>
                <a:gd name="connsiteX35" fmla="*/ 143473 w 578354"/>
                <a:gd name="connsiteY35" fmla="*/ 203906 h 606510"/>
                <a:gd name="connsiteX36" fmla="*/ 143473 w 578354"/>
                <a:gd name="connsiteY36" fmla="*/ 214410 h 606510"/>
                <a:gd name="connsiteX37" fmla="*/ 146401 w 578354"/>
                <a:gd name="connsiteY37" fmla="*/ 219824 h 606510"/>
                <a:gd name="connsiteX38" fmla="*/ 152691 w 578354"/>
                <a:gd name="connsiteY38" fmla="*/ 223831 h 606510"/>
                <a:gd name="connsiteX39" fmla="*/ 153016 w 578354"/>
                <a:gd name="connsiteY39" fmla="*/ 226538 h 606510"/>
                <a:gd name="connsiteX40" fmla="*/ 176007 w 578354"/>
                <a:gd name="connsiteY40" fmla="*/ 279598 h 606510"/>
                <a:gd name="connsiteX41" fmla="*/ 214071 w 578354"/>
                <a:gd name="connsiteY41" fmla="*/ 312516 h 606510"/>
                <a:gd name="connsiteX42" fmla="*/ 248557 w 578354"/>
                <a:gd name="connsiteY42" fmla="*/ 312516 h 606510"/>
                <a:gd name="connsiteX43" fmla="*/ 286621 w 578354"/>
                <a:gd name="connsiteY43" fmla="*/ 279598 h 606510"/>
                <a:gd name="connsiteX44" fmla="*/ 309611 w 578354"/>
                <a:gd name="connsiteY44" fmla="*/ 226538 h 606510"/>
                <a:gd name="connsiteX45" fmla="*/ 309936 w 578354"/>
                <a:gd name="connsiteY45" fmla="*/ 223831 h 606510"/>
                <a:gd name="connsiteX46" fmla="*/ 316226 w 578354"/>
                <a:gd name="connsiteY46" fmla="*/ 219824 h 606510"/>
                <a:gd name="connsiteX47" fmla="*/ 319154 w 578354"/>
                <a:gd name="connsiteY47" fmla="*/ 214410 h 606510"/>
                <a:gd name="connsiteX48" fmla="*/ 319154 w 578354"/>
                <a:gd name="connsiteY48" fmla="*/ 203906 h 606510"/>
                <a:gd name="connsiteX49" fmla="*/ 312756 w 578354"/>
                <a:gd name="connsiteY49" fmla="*/ 197518 h 606510"/>
                <a:gd name="connsiteX50" fmla="*/ 309177 w 578354"/>
                <a:gd name="connsiteY50" fmla="*/ 197518 h 606510"/>
                <a:gd name="connsiteX51" fmla="*/ 307117 w 578354"/>
                <a:gd name="connsiteY51" fmla="*/ 195352 h 606510"/>
                <a:gd name="connsiteX52" fmla="*/ 301044 w 578354"/>
                <a:gd name="connsiteY52" fmla="*/ 194919 h 606510"/>
                <a:gd name="connsiteX53" fmla="*/ 275668 w 578354"/>
                <a:gd name="connsiteY53" fmla="*/ 200658 h 606510"/>
                <a:gd name="connsiteX54" fmla="*/ 236302 w 578354"/>
                <a:gd name="connsiteY54" fmla="*/ 182791 h 606510"/>
                <a:gd name="connsiteX55" fmla="*/ 200624 w 578354"/>
                <a:gd name="connsiteY55" fmla="*/ 168497 h 606510"/>
                <a:gd name="connsiteX56" fmla="*/ 426321 w 578354"/>
                <a:gd name="connsiteY56" fmla="*/ 71765 h 606510"/>
                <a:gd name="connsiteX57" fmla="*/ 439012 w 578354"/>
                <a:gd name="connsiteY57" fmla="*/ 84331 h 606510"/>
                <a:gd name="connsiteX58" fmla="*/ 439012 w 578354"/>
                <a:gd name="connsiteY58" fmla="*/ 99173 h 606510"/>
                <a:gd name="connsiteX59" fmla="*/ 464721 w 578354"/>
                <a:gd name="connsiteY59" fmla="*/ 112498 h 606510"/>
                <a:gd name="connsiteX60" fmla="*/ 467758 w 578354"/>
                <a:gd name="connsiteY60" fmla="*/ 124306 h 606510"/>
                <a:gd name="connsiteX61" fmla="*/ 459297 w 578354"/>
                <a:gd name="connsiteY61" fmla="*/ 133080 h 606510"/>
                <a:gd name="connsiteX62" fmla="*/ 452789 w 578354"/>
                <a:gd name="connsiteY62" fmla="*/ 135139 h 606510"/>
                <a:gd name="connsiteX63" fmla="*/ 439555 w 578354"/>
                <a:gd name="connsiteY63" fmla="*/ 131455 h 606510"/>
                <a:gd name="connsiteX64" fmla="*/ 425019 w 578354"/>
                <a:gd name="connsiteY64" fmla="*/ 125931 h 606510"/>
                <a:gd name="connsiteX65" fmla="*/ 413738 w 578354"/>
                <a:gd name="connsiteY65" fmla="*/ 132972 h 606510"/>
                <a:gd name="connsiteX66" fmla="*/ 415582 w 578354"/>
                <a:gd name="connsiteY66" fmla="*/ 137197 h 606510"/>
                <a:gd name="connsiteX67" fmla="*/ 426429 w 578354"/>
                <a:gd name="connsiteY67" fmla="*/ 140989 h 606510"/>
                <a:gd name="connsiteX68" fmla="*/ 456043 w 578354"/>
                <a:gd name="connsiteY68" fmla="*/ 149113 h 606510"/>
                <a:gd name="connsiteX69" fmla="*/ 471230 w 578354"/>
                <a:gd name="connsiteY69" fmla="*/ 161355 h 606510"/>
                <a:gd name="connsiteX70" fmla="*/ 477304 w 578354"/>
                <a:gd name="connsiteY70" fmla="*/ 181829 h 606510"/>
                <a:gd name="connsiteX71" fmla="*/ 465480 w 578354"/>
                <a:gd name="connsiteY71" fmla="*/ 209454 h 606510"/>
                <a:gd name="connsiteX72" fmla="*/ 439012 w 578354"/>
                <a:gd name="connsiteY72" fmla="*/ 222020 h 606510"/>
                <a:gd name="connsiteX73" fmla="*/ 439012 w 578354"/>
                <a:gd name="connsiteY73" fmla="*/ 242278 h 606510"/>
                <a:gd name="connsiteX74" fmla="*/ 426321 w 578354"/>
                <a:gd name="connsiteY74" fmla="*/ 254953 h 606510"/>
                <a:gd name="connsiteX75" fmla="*/ 413738 w 578354"/>
                <a:gd name="connsiteY75" fmla="*/ 242278 h 606510"/>
                <a:gd name="connsiteX76" fmla="*/ 413738 w 578354"/>
                <a:gd name="connsiteY76" fmla="*/ 222670 h 606510"/>
                <a:gd name="connsiteX77" fmla="*/ 378158 w 578354"/>
                <a:gd name="connsiteY77" fmla="*/ 202087 h 606510"/>
                <a:gd name="connsiteX78" fmla="*/ 377073 w 578354"/>
                <a:gd name="connsiteY78" fmla="*/ 190171 h 606510"/>
                <a:gd name="connsiteX79" fmla="*/ 386402 w 578354"/>
                <a:gd name="connsiteY79" fmla="*/ 182696 h 606510"/>
                <a:gd name="connsiteX80" fmla="*/ 395948 w 578354"/>
                <a:gd name="connsiteY80" fmla="*/ 180963 h 606510"/>
                <a:gd name="connsiteX81" fmla="*/ 408531 w 578354"/>
                <a:gd name="connsiteY81" fmla="*/ 186163 h 606510"/>
                <a:gd name="connsiteX82" fmla="*/ 426646 w 578354"/>
                <a:gd name="connsiteY82" fmla="*/ 193963 h 606510"/>
                <a:gd name="connsiteX83" fmla="*/ 439555 w 578354"/>
                <a:gd name="connsiteY83" fmla="*/ 187138 h 606510"/>
                <a:gd name="connsiteX84" fmla="*/ 436626 w 578354"/>
                <a:gd name="connsiteY84" fmla="*/ 181504 h 606510"/>
                <a:gd name="connsiteX85" fmla="*/ 425778 w 578354"/>
                <a:gd name="connsiteY85" fmla="*/ 177821 h 606510"/>
                <a:gd name="connsiteX86" fmla="*/ 385534 w 578354"/>
                <a:gd name="connsiteY86" fmla="*/ 161355 h 606510"/>
                <a:gd name="connsiteX87" fmla="*/ 376964 w 578354"/>
                <a:gd name="connsiteY87" fmla="*/ 138280 h 606510"/>
                <a:gd name="connsiteX88" fmla="*/ 386402 w 578354"/>
                <a:gd name="connsiteY88" fmla="*/ 112714 h 606510"/>
                <a:gd name="connsiteX89" fmla="*/ 413738 w 578354"/>
                <a:gd name="connsiteY89" fmla="*/ 98848 h 606510"/>
                <a:gd name="connsiteX90" fmla="*/ 413738 w 578354"/>
                <a:gd name="connsiteY90" fmla="*/ 84331 h 606510"/>
                <a:gd name="connsiteX91" fmla="*/ 426321 w 578354"/>
                <a:gd name="connsiteY91" fmla="*/ 71765 h 606510"/>
                <a:gd name="connsiteX92" fmla="*/ 215047 w 578354"/>
                <a:gd name="connsiteY92" fmla="*/ 46785 h 606510"/>
                <a:gd name="connsiteX93" fmla="*/ 247581 w 578354"/>
                <a:gd name="connsiteY93" fmla="*/ 46785 h 606510"/>
                <a:gd name="connsiteX94" fmla="*/ 347675 w 578354"/>
                <a:gd name="connsiteY94" fmla="*/ 146840 h 606510"/>
                <a:gd name="connsiteX95" fmla="*/ 347675 w 578354"/>
                <a:gd name="connsiteY95" fmla="*/ 178243 h 606510"/>
                <a:gd name="connsiteX96" fmla="*/ 353423 w 578354"/>
                <a:gd name="connsiteY96" fmla="*/ 196110 h 606510"/>
                <a:gd name="connsiteX97" fmla="*/ 353423 w 578354"/>
                <a:gd name="connsiteY97" fmla="*/ 218525 h 606510"/>
                <a:gd name="connsiteX98" fmla="*/ 342362 w 578354"/>
                <a:gd name="connsiteY98" fmla="*/ 242131 h 606510"/>
                <a:gd name="connsiteX99" fmla="*/ 335963 w 578354"/>
                <a:gd name="connsiteY99" fmla="*/ 259132 h 606510"/>
                <a:gd name="connsiteX100" fmla="*/ 314383 w 578354"/>
                <a:gd name="connsiteY100" fmla="*/ 299522 h 606510"/>
                <a:gd name="connsiteX101" fmla="*/ 299743 w 578354"/>
                <a:gd name="connsiteY101" fmla="*/ 318147 h 606510"/>
                <a:gd name="connsiteX102" fmla="*/ 310587 w 578354"/>
                <a:gd name="connsiteY102" fmla="*/ 331683 h 606510"/>
                <a:gd name="connsiteX103" fmla="*/ 382052 w 578354"/>
                <a:gd name="connsiteY103" fmla="*/ 353231 h 606510"/>
                <a:gd name="connsiteX104" fmla="*/ 462627 w 578354"/>
                <a:gd name="connsiteY104" fmla="*/ 587560 h 606510"/>
                <a:gd name="connsiteX105" fmla="*/ 443758 w 578354"/>
                <a:gd name="connsiteY105" fmla="*/ 606510 h 606510"/>
                <a:gd name="connsiteX106" fmla="*/ 18978 w 578354"/>
                <a:gd name="connsiteY106" fmla="*/ 606510 h 606510"/>
                <a:gd name="connsiteX107" fmla="*/ 0 w 578354"/>
                <a:gd name="connsiteY107" fmla="*/ 587560 h 606510"/>
                <a:gd name="connsiteX108" fmla="*/ 217 w 578354"/>
                <a:gd name="connsiteY108" fmla="*/ 584636 h 606510"/>
                <a:gd name="connsiteX109" fmla="*/ 80575 w 578354"/>
                <a:gd name="connsiteY109" fmla="*/ 353231 h 606510"/>
                <a:gd name="connsiteX110" fmla="*/ 152040 w 578354"/>
                <a:gd name="connsiteY110" fmla="*/ 331683 h 606510"/>
                <a:gd name="connsiteX111" fmla="*/ 162885 w 578354"/>
                <a:gd name="connsiteY111" fmla="*/ 318147 h 606510"/>
                <a:gd name="connsiteX112" fmla="*/ 148353 w 578354"/>
                <a:gd name="connsiteY112" fmla="*/ 299522 h 606510"/>
                <a:gd name="connsiteX113" fmla="*/ 126664 w 578354"/>
                <a:gd name="connsiteY113" fmla="*/ 259132 h 606510"/>
                <a:gd name="connsiteX114" fmla="*/ 120266 w 578354"/>
                <a:gd name="connsiteY114" fmla="*/ 242131 h 606510"/>
                <a:gd name="connsiteX115" fmla="*/ 109205 w 578354"/>
                <a:gd name="connsiteY115" fmla="*/ 218525 h 606510"/>
                <a:gd name="connsiteX116" fmla="*/ 109205 w 578354"/>
                <a:gd name="connsiteY116" fmla="*/ 196110 h 606510"/>
                <a:gd name="connsiteX117" fmla="*/ 114952 w 578354"/>
                <a:gd name="connsiteY117" fmla="*/ 178243 h 606510"/>
                <a:gd name="connsiteX118" fmla="*/ 114952 w 578354"/>
                <a:gd name="connsiteY118" fmla="*/ 146840 h 606510"/>
                <a:gd name="connsiteX119" fmla="*/ 215047 w 578354"/>
                <a:gd name="connsiteY119" fmla="*/ 46785 h 606510"/>
                <a:gd name="connsiteX120" fmla="*/ 414825 w 578354"/>
                <a:gd name="connsiteY120" fmla="*/ 0 h 606510"/>
                <a:gd name="connsiteX121" fmla="*/ 578354 w 578354"/>
                <a:gd name="connsiteY121" fmla="*/ 163305 h 606510"/>
                <a:gd name="connsiteX122" fmla="*/ 414825 w 578354"/>
                <a:gd name="connsiteY122" fmla="*/ 326718 h 606510"/>
                <a:gd name="connsiteX123" fmla="*/ 344664 w 578354"/>
                <a:gd name="connsiteY123" fmla="*/ 310907 h 606510"/>
                <a:gd name="connsiteX124" fmla="*/ 360063 w 578354"/>
                <a:gd name="connsiteY124" fmla="*/ 279719 h 606510"/>
                <a:gd name="connsiteX125" fmla="*/ 414825 w 578354"/>
                <a:gd name="connsiteY125" fmla="*/ 291956 h 606510"/>
                <a:gd name="connsiteX126" fmla="*/ 543545 w 578354"/>
                <a:gd name="connsiteY126" fmla="*/ 163305 h 606510"/>
                <a:gd name="connsiteX127" fmla="*/ 414825 w 578354"/>
                <a:gd name="connsiteY127" fmla="*/ 34762 h 606510"/>
                <a:gd name="connsiteX128" fmla="*/ 338808 w 578354"/>
                <a:gd name="connsiteY128" fmla="*/ 59561 h 606510"/>
                <a:gd name="connsiteX129" fmla="*/ 311264 w 578354"/>
                <a:gd name="connsiteY129" fmla="*/ 37036 h 606510"/>
                <a:gd name="connsiteX130" fmla="*/ 414825 w 578354"/>
                <a:gd name="connsiteY130" fmla="*/ 0 h 60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578354" h="606510">
                  <a:moveTo>
                    <a:pt x="271981" y="340887"/>
                  </a:moveTo>
                  <a:cubicBezTo>
                    <a:pt x="266667" y="343702"/>
                    <a:pt x="261461" y="345543"/>
                    <a:pt x="256365" y="346409"/>
                  </a:cubicBezTo>
                  <a:cubicBezTo>
                    <a:pt x="253328" y="346951"/>
                    <a:pt x="251051" y="349658"/>
                    <a:pt x="251051" y="352798"/>
                  </a:cubicBezTo>
                  <a:lnTo>
                    <a:pt x="251051" y="368716"/>
                  </a:lnTo>
                  <a:cubicBezTo>
                    <a:pt x="250183" y="369149"/>
                    <a:pt x="249316" y="369691"/>
                    <a:pt x="248665" y="370449"/>
                  </a:cubicBezTo>
                  <a:cubicBezTo>
                    <a:pt x="247472" y="371748"/>
                    <a:pt x="246821" y="373589"/>
                    <a:pt x="247038" y="375322"/>
                  </a:cubicBezTo>
                  <a:lnTo>
                    <a:pt x="250509" y="409431"/>
                  </a:lnTo>
                  <a:cubicBezTo>
                    <a:pt x="250834" y="412030"/>
                    <a:pt x="252677" y="414196"/>
                    <a:pt x="255172" y="414954"/>
                  </a:cubicBezTo>
                  <a:cubicBezTo>
                    <a:pt x="255822" y="415062"/>
                    <a:pt x="256365" y="415170"/>
                    <a:pt x="256907" y="415170"/>
                  </a:cubicBezTo>
                  <a:cubicBezTo>
                    <a:pt x="258859" y="415170"/>
                    <a:pt x="260811" y="414304"/>
                    <a:pt x="262004" y="412572"/>
                  </a:cubicBezTo>
                  <a:lnTo>
                    <a:pt x="280114" y="388749"/>
                  </a:lnTo>
                  <a:cubicBezTo>
                    <a:pt x="280873" y="387666"/>
                    <a:pt x="281307" y="386258"/>
                    <a:pt x="281307" y="384851"/>
                  </a:cubicBezTo>
                  <a:lnTo>
                    <a:pt x="281307" y="346626"/>
                  </a:lnTo>
                  <a:cubicBezTo>
                    <a:pt x="281307" y="344352"/>
                    <a:pt x="280222" y="342295"/>
                    <a:pt x="278270" y="341104"/>
                  </a:cubicBezTo>
                  <a:cubicBezTo>
                    <a:pt x="276318" y="339912"/>
                    <a:pt x="273933" y="339912"/>
                    <a:pt x="271981" y="340887"/>
                  </a:cubicBezTo>
                  <a:close/>
                  <a:moveTo>
                    <a:pt x="190755" y="340887"/>
                  </a:moveTo>
                  <a:cubicBezTo>
                    <a:pt x="188695" y="339912"/>
                    <a:pt x="186309" y="339912"/>
                    <a:pt x="184357" y="341104"/>
                  </a:cubicBezTo>
                  <a:cubicBezTo>
                    <a:pt x="182513" y="342295"/>
                    <a:pt x="181321" y="344352"/>
                    <a:pt x="181321" y="346626"/>
                  </a:cubicBezTo>
                  <a:lnTo>
                    <a:pt x="181212" y="384851"/>
                  </a:lnTo>
                  <a:cubicBezTo>
                    <a:pt x="181212" y="386258"/>
                    <a:pt x="181754" y="387666"/>
                    <a:pt x="182513" y="388749"/>
                  </a:cubicBezTo>
                  <a:lnTo>
                    <a:pt x="200624" y="412680"/>
                  </a:lnTo>
                  <a:cubicBezTo>
                    <a:pt x="201817" y="414304"/>
                    <a:pt x="203769" y="415170"/>
                    <a:pt x="205721" y="415170"/>
                  </a:cubicBezTo>
                  <a:cubicBezTo>
                    <a:pt x="206263" y="415170"/>
                    <a:pt x="206914" y="415062"/>
                    <a:pt x="207456" y="414954"/>
                  </a:cubicBezTo>
                  <a:cubicBezTo>
                    <a:pt x="209950" y="414196"/>
                    <a:pt x="211794" y="412030"/>
                    <a:pt x="212119" y="409431"/>
                  </a:cubicBezTo>
                  <a:lnTo>
                    <a:pt x="215589" y="375322"/>
                  </a:lnTo>
                  <a:cubicBezTo>
                    <a:pt x="215806" y="373589"/>
                    <a:pt x="215264" y="371748"/>
                    <a:pt x="213963" y="370449"/>
                  </a:cubicBezTo>
                  <a:cubicBezTo>
                    <a:pt x="213312" y="369691"/>
                    <a:pt x="212553" y="369149"/>
                    <a:pt x="211577" y="368716"/>
                  </a:cubicBezTo>
                  <a:lnTo>
                    <a:pt x="211577" y="352798"/>
                  </a:lnTo>
                  <a:cubicBezTo>
                    <a:pt x="211577" y="349658"/>
                    <a:pt x="209299" y="346951"/>
                    <a:pt x="206263" y="346409"/>
                  </a:cubicBezTo>
                  <a:cubicBezTo>
                    <a:pt x="201166" y="345543"/>
                    <a:pt x="195961" y="343702"/>
                    <a:pt x="190755" y="340887"/>
                  </a:cubicBezTo>
                  <a:close/>
                  <a:moveTo>
                    <a:pt x="200624" y="168497"/>
                  </a:moveTo>
                  <a:cubicBezTo>
                    <a:pt x="182513" y="168497"/>
                    <a:pt x="164945" y="175861"/>
                    <a:pt x="156161" y="180300"/>
                  </a:cubicBezTo>
                  <a:cubicBezTo>
                    <a:pt x="153884" y="181383"/>
                    <a:pt x="152583" y="183657"/>
                    <a:pt x="152583" y="186039"/>
                  </a:cubicBezTo>
                  <a:lnTo>
                    <a:pt x="152583" y="197518"/>
                  </a:lnTo>
                  <a:lnTo>
                    <a:pt x="149980" y="197518"/>
                  </a:lnTo>
                  <a:cubicBezTo>
                    <a:pt x="146401" y="197518"/>
                    <a:pt x="143473" y="200333"/>
                    <a:pt x="143473" y="203906"/>
                  </a:cubicBezTo>
                  <a:lnTo>
                    <a:pt x="143473" y="214410"/>
                  </a:lnTo>
                  <a:cubicBezTo>
                    <a:pt x="143473" y="216576"/>
                    <a:pt x="144666" y="218633"/>
                    <a:pt x="146401" y="219824"/>
                  </a:cubicBezTo>
                  <a:lnTo>
                    <a:pt x="152691" y="223831"/>
                  </a:lnTo>
                  <a:lnTo>
                    <a:pt x="153016" y="226538"/>
                  </a:lnTo>
                  <a:cubicBezTo>
                    <a:pt x="155077" y="241806"/>
                    <a:pt x="163644" y="261731"/>
                    <a:pt x="176007" y="279598"/>
                  </a:cubicBezTo>
                  <a:cubicBezTo>
                    <a:pt x="191731" y="302338"/>
                    <a:pt x="206480" y="312516"/>
                    <a:pt x="214071" y="312516"/>
                  </a:cubicBezTo>
                  <a:lnTo>
                    <a:pt x="248557" y="312516"/>
                  </a:lnTo>
                  <a:cubicBezTo>
                    <a:pt x="256148" y="312516"/>
                    <a:pt x="270896" y="302338"/>
                    <a:pt x="286621" y="279598"/>
                  </a:cubicBezTo>
                  <a:cubicBezTo>
                    <a:pt x="298984" y="261731"/>
                    <a:pt x="307551" y="241806"/>
                    <a:pt x="309611" y="226538"/>
                  </a:cubicBezTo>
                  <a:lnTo>
                    <a:pt x="309936" y="223831"/>
                  </a:lnTo>
                  <a:lnTo>
                    <a:pt x="316226" y="219824"/>
                  </a:lnTo>
                  <a:cubicBezTo>
                    <a:pt x="318070" y="218633"/>
                    <a:pt x="319154" y="216576"/>
                    <a:pt x="319154" y="214410"/>
                  </a:cubicBezTo>
                  <a:lnTo>
                    <a:pt x="319154" y="203906"/>
                  </a:lnTo>
                  <a:cubicBezTo>
                    <a:pt x="319154" y="200333"/>
                    <a:pt x="316226" y="197518"/>
                    <a:pt x="312756" y="197518"/>
                  </a:cubicBezTo>
                  <a:lnTo>
                    <a:pt x="309177" y="197518"/>
                  </a:lnTo>
                  <a:cubicBezTo>
                    <a:pt x="308744" y="196651"/>
                    <a:pt x="307984" y="195893"/>
                    <a:pt x="307117" y="195352"/>
                  </a:cubicBezTo>
                  <a:cubicBezTo>
                    <a:pt x="305382" y="194161"/>
                    <a:pt x="302996" y="193944"/>
                    <a:pt x="301044" y="194919"/>
                  </a:cubicBezTo>
                  <a:cubicBezTo>
                    <a:pt x="292477" y="198709"/>
                    <a:pt x="283910" y="200658"/>
                    <a:pt x="275668" y="200658"/>
                  </a:cubicBezTo>
                  <a:cubicBezTo>
                    <a:pt x="261028" y="200658"/>
                    <a:pt x="247797" y="194702"/>
                    <a:pt x="236302" y="182791"/>
                  </a:cubicBezTo>
                  <a:cubicBezTo>
                    <a:pt x="227193" y="173370"/>
                    <a:pt x="215155" y="168497"/>
                    <a:pt x="200624" y="168497"/>
                  </a:cubicBezTo>
                  <a:close/>
                  <a:moveTo>
                    <a:pt x="426321" y="71765"/>
                  </a:moveTo>
                  <a:cubicBezTo>
                    <a:pt x="433372" y="71765"/>
                    <a:pt x="439012" y="77398"/>
                    <a:pt x="439012" y="84331"/>
                  </a:cubicBezTo>
                  <a:lnTo>
                    <a:pt x="439012" y="99173"/>
                  </a:lnTo>
                  <a:cubicBezTo>
                    <a:pt x="449860" y="101231"/>
                    <a:pt x="458321" y="105564"/>
                    <a:pt x="464721" y="112498"/>
                  </a:cubicBezTo>
                  <a:cubicBezTo>
                    <a:pt x="467650" y="115639"/>
                    <a:pt x="468843" y="120081"/>
                    <a:pt x="467758" y="124306"/>
                  </a:cubicBezTo>
                  <a:cubicBezTo>
                    <a:pt x="466565" y="128531"/>
                    <a:pt x="463419" y="131780"/>
                    <a:pt x="459297" y="133080"/>
                  </a:cubicBezTo>
                  <a:lnTo>
                    <a:pt x="452789" y="135139"/>
                  </a:lnTo>
                  <a:cubicBezTo>
                    <a:pt x="448016" y="136655"/>
                    <a:pt x="442809" y="135247"/>
                    <a:pt x="439555" y="131455"/>
                  </a:cubicBezTo>
                  <a:cubicBezTo>
                    <a:pt x="436192" y="127772"/>
                    <a:pt x="431311" y="125931"/>
                    <a:pt x="425019" y="125931"/>
                  </a:cubicBezTo>
                  <a:cubicBezTo>
                    <a:pt x="419921" y="125931"/>
                    <a:pt x="413738" y="127122"/>
                    <a:pt x="413738" y="132972"/>
                  </a:cubicBezTo>
                  <a:cubicBezTo>
                    <a:pt x="413738" y="134597"/>
                    <a:pt x="414388" y="136005"/>
                    <a:pt x="415582" y="137197"/>
                  </a:cubicBezTo>
                  <a:cubicBezTo>
                    <a:pt x="416883" y="138389"/>
                    <a:pt x="420463" y="139689"/>
                    <a:pt x="426429" y="140989"/>
                  </a:cubicBezTo>
                  <a:cubicBezTo>
                    <a:pt x="440097" y="144022"/>
                    <a:pt x="450077" y="146730"/>
                    <a:pt x="456043" y="149113"/>
                  </a:cubicBezTo>
                  <a:cubicBezTo>
                    <a:pt x="462118" y="151497"/>
                    <a:pt x="467216" y="155613"/>
                    <a:pt x="471230" y="161355"/>
                  </a:cubicBezTo>
                  <a:cubicBezTo>
                    <a:pt x="475243" y="167096"/>
                    <a:pt x="477304" y="174030"/>
                    <a:pt x="477304" y="181829"/>
                  </a:cubicBezTo>
                  <a:cubicBezTo>
                    <a:pt x="477304" y="192771"/>
                    <a:pt x="473291" y="202087"/>
                    <a:pt x="465480" y="209454"/>
                  </a:cubicBezTo>
                  <a:cubicBezTo>
                    <a:pt x="458863" y="215737"/>
                    <a:pt x="449968" y="219962"/>
                    <a:pt x="439012" y="222020"/>
                  </a:cubicBezTo>
                  <a:lnTo>
                    <a:pt x="439012" y="242278"/>
                  </a:lnTo>
                  <a:cubicBezTo>
                    <a:pt x="439012" y="249320"/>
                    <a:pt x="433372" y="254953"/>
                    <a:pt x="426321" y="254953"/>
                  </a:cubicBezTo>
                  <a:cubicBezTo>
                    <a:pt x="419378" y="254953"/>
                    <a:pt x="413738" y="249320"/>
                    <a:pt x="413738" y="242278"/>
                  </a:cubicBezTo>
                  <a:lnTo>
                    <a:pt x="413738" y="222670"/>
                  </a:lnTo>
                  <a:cubicBezTo>
                    <a:pt x="397683" y="220504"/>
                    <a:pt x="385751" y="213571"/>
                    <a:pt x="378158" y="202087"/>
                  </a:cubicBezTo>
                  <a:cubicBezTo>
                    <a:pt x="375771" y="198512"/>
                    <a:pt x="375337" y="194071"/>
                    <a:pt x="377073" y="190171"/>
                  </a:cubicBezTo>
                  <a:cubicBezTo>
                    <a:pt x="378700" y="186271"/>
                    <a:pt x="382171" y="183454"/>
                    <a:pt x="386402" y="182696"/>
                  </a:cubicBezTo>
                  <a:lnTo>
                    <a:pt x="395948" y="180963"/>
                  </a:lnTo>
                  <a:cubicBezTo>
                    <a:pt x="400721" y="180096"/>
                    <a:pt x="405710" y="182046"/>
                    <a:pt x="408531" y="186163"/>
                  </a:cubicBezTo>
                  <a:cubicBezTo>
                    <a:pt x="412110" y="191254"/>
                    <a:pt x="418185" y="193963"/>
                    <a:pt x="426646" y="193963"/>
                  </a:cubicBezTo>
                  <a:cubicBezTo>
                    <a:pt x="439555" y="193963"/>
                    <a:pt x="439555" y="188763"/>
                    <a:pt x="439555" y="187138"/>
                  </a:cubicBezTo>
                  <a:cubicBezTo>
                    <a:pt x="439555" y="184646"/>
                    <a:pt x="438578" y="182913"/>
                    <a:pt x="436626" y="181504"/>
                  </a:cubicBezTo>
                  <a:cubicBezTo>
                    <a:pt x="434673" y="180096"/>
                    <a:pt x="430985" y="178905"/>
                    <a:pt x="425778" y="177821"/>
                  </a:cubicBezTo>
                  <a:cubicBezTo>
                    <a:pt x="404734" y="173488"/>
                    <a:pt x="391283" y="167963"/>
                    <a:pt x="385534" y="161355"/>
                  </a:cubicBezTo>
                  <a:cubicBezTo>
                    <a:pt x="379785" y="154530"/>
                    <a:pt x="376964" y="147055"/>
                    <a:pt x="376964" y="138280"/>
                  </a:cubicBezTo>
                  <a:cubicBezTo>
                    <a:pt x="376964" y="128639"/>
                    <a:pt x="380110" y="120081"/>
                    <a:pt x="386402" y="112714"/>
                  </a:cubicBezTo>
                  <a:cubicBezTo>
                    <a:pt x="392368" y="105564"/>
                    <a:pt x="401588" y="100906"/>
                    <a:pt x="413738" y="98848"/>
                  </a:cubicBezTo>
                  <a:lnTo>
                    <a:pt x="413738" y="84331"/>
                  </a:lnTo>
                  <a:cubicBezTo>
                    <a:pt x="413738" y="77398"/>
                    <a:pt x="419378" y="71765"/>
                    <a:pt x="426321" y="71765"/>
                  </a:cubicBezTo>
                  <a:close/>
                  <a:moveTo>
                    <a:pt x="215047" y="46785"/>
                  </a:moveTo>
                  <a:lnTo>
                    <a:pt x="247581" y="46785"/>
                  </a:lnTo>
                  <a:cubicBezTo>
                    <a:pt x="302779" y="46785"/>
                    <a:pt x="347675" y="91723"/>
                    <a:pt x="347675" y="146840"/>
                  </a:cubicBezTo>
                  <a:lnTo>
                    <a:pt x="347675" y="178243"/>
                  </a:lnTo>
                  <a:cubicBezTo>
                    <a:pt x="351471" y="183441"/>
                    <a:pt x="353423" y="189721"/>
                    <a:pt x="353423" y="196110"/>
                  </a:cubicBezTo>
                  <a:lnTo>
                    <a:pt x="353423" y="218525"/>
                  </a:lnTo>
                  <a:cubicBezTo>
                    <a:pt x="353423" y="227621"/>
                    <a:pt x="349302" y="236284"/>
                    <a:pt x="342362" y="242131"/>
                  </a:cubicBezTo>
                  <a:cubicBezTo>
                    <a:pt x="340626" y="247654"/>
                    <a:pt x="338458" y="253393"/>
                    <a:pt x="335963" y="259132"/>
                  </a:cubicBezTo>
                  <a:cubicBezTo>
                    <a:pt x="330758" y="272559"/>
                    <a:pt x="323275" y="286528"/>
                    <a:pt x="314383" y="299522"/>
                  </a:cubicBezTo>
                  <a:cubicBezTo>
                    <a:pt x="310587" y="305045"/>
                    <a:pt x="305599" y="311650"/>
                    <a:pt x="299743" y="318147"/>
                  </a:cubicBezTo>
                  <a:cubicBezTo>
                    <a:pt x="305056" y="321937"/>
                    <a:pt x="308852" y="326485"/>
                    <a:pt x="310587" y="331683"/>
                  </a:cubicBezTo>
                  <a:lnTo>
                    <a:pt x="382052" y="353231"/>
                  </a:lnTo>
                  <a:cubicBezTo>
                    <a:pt x="432263" y="367742"/>
                    <a:pt x="462627" y="578464"/>
                    <a:pt x="462627" y="587560"/>
                  </a:cubicBezTo>
                  <a:cubicBezTo>
                    <a:pt x="462627" y="598064"/>
                    <a:pt x="454169" y="606510"/>
                    <a:pt x="443758" y="606510"/>
                  </a:cubicBezTo>
                  <a:lnTo>
                    <a:pt x="18978" y="606510"/>
                  </a:lnTo>
                  <a:cubicBezTo>
                    <a:pt x="8459" y="606510"/>
                    <a:pt x="0" y="598064"/>
                    <a:pt x="0" y="587560"/>
                  </a:cubicBezTo>
                  <a:cubicBezTo>
                    <a:pt x="0" y="586586"/>
                    <a:pt x="109" y="585611"/>
                    <a:pt x="217" y="584636"/>
                  </a:cubicBezTo>
                  <a:cubicBezTo>
                    <a:pt x="217" y="584636"/>
                    <a:pt x="30365" y="367742"/>
                    <a:pt x="80575" y="353231"/>
                  </a:cubicBezTo>
                  <a:lnTo>
                    <a:pt x="152040" y="331683"/>
                  </a:lnTo>
                  <a:cubicBezTo>
                    <a:pt x="153775" y="326485"/>
                    <a:pt x="157571" y="321937"/>
                    <a:pt x="162885" y="318147"/>
                  </a:cubicBezTo>
                  <a:cubicBezTo>
                    <a:pt x="157029" y="311650"/>
                    <a:pt x="152040" y="305045"/>
                    <a:pt x="148353" y="299522"/>
                  </a:cubicBezTo>
                  <a:cubicBezTo>
                    <a:pt x="139352" y="286528"/>
                    <a:pt x="131870" y="272559"/>
                    <a:pt x="126664" y="259132"/>
                  </a:cubicBezTo>
                  <a:cubicBezTo>
                    <a:pt x="124170" y="253393"/>
                    <a:pt x="122001" y="247654"/>
                    <a:pt x="120266" y="242131"/>
                  </a:cubicBezTo>
                  <a:cubicBezTo>
                    <a:pt x="113325" y="236284"/>
                    <a:pt x="109205" y="227621"/>
                    <a:pt x="109205" y="218525"/>
                  </a:cubicBezTo>
                  <a:lnTo>
                    <a:pt x="109205" y="196110"/>
                  </a:lnTo>
                  <a:cubicBezTo>
                    <a:pt x="109205" y="189721"/>
                    <a:pt x="111265" y="183441"/>
                    <a:pt x="114952" y="178243"/>
                  </a:cubicBezTo>
                  <a:lnTo>
                    <a:pt x="114952" y="146840"/>
                  </a:lnTo>
                  <a:cubicBezTo>
                    <a:pt x="114952" y="91723"/>
                    <a:pt x="159848" y="46785"/>
                    <a:pt x="215047" y="46785"/>
                  </a:cubicBezTo>
                  <a:close/>
                  <a:moveTo>
                    <a:pt x="414825" y="0"/>
                  </a:moveTo>
                  <a:cubicBezTo>
                    <a:pt x="504940" y="0"/>
                    <a:pt x="578354" y="73314"/>
                    <a:pt x="578354" y="163305"/>
                  </a:cubicBezTo>
                  <a:cubicBezTo>
                    <a:pt x="578354" y="253404"/>
                    <a:pt x="504940" y="326718"/>
                    <a:pt x="414825" y="326718"/>
                  </a:cubicBezTo>
                  <a:cubicBezTo>
                    <a:pt x="389667" y="326718"/>
                    <a:pt x="365918" y="320979"/>
                    <a:pt x="344664" y="310907"/>
                  </a:cubicBezTo>
                  <a:cubicBezTo>
                    <a:pt x="350737" y="300620"/>
                    <a:pt x="355942" y="290115"/>
                    <a:pt x="360063" y="279719"/>
                  </a:cubicBezTo>
                  <a:cubicBezTo>
                    <a:pt x="376654" y="287516"/>
                    <a:pt x="395198" y="291956"/>
                    <a:pt x="414825" y="291956"/>
                  </a:cubicBezTo>
                  <a:cubicBezTo>
                    <a:pt x="485854" y="291956"/>
                    <a:pt x="543545" y="234236"/>
                    <a:pt x="543545" y="163305"/>
                  </a:cubicBezTo>
                  <a:cubicBezTo>
                    <a:pt x="543545" y="92482"/>
                    <a:pt x="485854" y="34762"/>
                    <a:pt x="414825" y="34762"/>
                  </a:cubicBezTo>
                  <a:cubicBezTo>
                    <a:pt x="386414" y="34762"/>
                    <a:pt x="360171" y="43967"/>
                    <a:pt x="338808" y="59561"/>
                  </a:cubicBezTo>
                  <a:cubicBezTo>
                    <a:pt x="330675" y="50897"/>
                    <a:pt x="321458" y="43317"/>
                    <a:pt x="311264" y="37036"/>
                  </a:cubicBezTo>
                  <a:cubicBezTo>
                    <a:pt x="339459" y="13861"/>
                    <a:pt x="375570" y="0"/>
                    <a:pt x="4148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</p:grpSp>
      <p:grpSp>
        <p:nvGrpSpPr>
          <p:cNvPr id="12" name="îśľïḓe"/>
          <p:cNvGrpSpPr/>
          <p:nvPr/>
        </p:nvGrpSpPr>
        <p:grpSpPr>
          <a:xfrm>
            <a:off x="5353233" y="2275671"/>
            <a:ext cx="5584055" cy="1230174"/>
            <a:chOff x="5436870" y="2260513"/>
            <a:chExt cx="5408147" cy="1199959"/>
          </a:xfrm>
        </p:grpSpPr>
        <p:grpSp>
          <p:nvGrpSpPr>
            <p:cNvPr id="30" name="ïṥḻîḍê"/>
            <p:cNvGrpSpPr/>
            <p:nvPr/>
          </p:nvGrpSpPr>
          <p:grpSpPr>
            <a:xfrm>
              <a:off x="5436870" y="2260513"/>
              <a:ext cx="5408147" cy="1199959"/>
              <a:chOff x="6577840" y="2879537"/>
              <a:chExt cx="5408147" cy="1199959"/>
            </a:xfrm>
          </p:grpSpPr>
          <p:sp>
            <p:nvSpPr>
              <p:cNvPr id="35" name="îṥļîdê"/>
              <p:cNvSpPr/>
              <p:nvPr/>
            </p:nvSpPr>
            <p:spPr bwMode="auto">
              <a:xfrm>
                <a:off x="8000346" y="3559518"/>
                <a:ext cx="3518554" cy="519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endParaRPr lang="en-US" altLang="zh-CN" sz="1100" dirty="0"/>
              </a:p>
            </p:txBody>
          </p:sp>
          <p:sp>
            <p:nvSpPr>
              <p:cNvPr id="36" name="îṥ1iḍè"/>
              <p:cNvSpPr txBox="1"/>
              <p:nvPr/>
            </p:nvSpPr>
            <p:spPr bwMode="auto">
              <a:xfrm>
                <a:off x="6577840" y="2879537"/>
                <a:ext cx="5408147" cy="421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b="1" dirty="0"/>
                  <a:t>数据集收集：每个人找到</a:t>
                </a:r>
                <a:r>
                  <a:rPr lang="en-US" altLang="zh-CN" b="1" dirty="0"/>
                  <a:t>1000</a:t>
                </a:r>
                <a:r>
                  <a:rPr lang="zh-CN" altLang="en-US" b="1" dirty="0"/>
                  <a:t>张左右的花草图片（总</a:t>
                </a:r>
                <a:r>
                  <a:rPr lang="en-US" altLang="zh-CN" b="1" dirty="0"/>
                  <a:t>10000+</a:t>
                </a:r>
                <a:r>
                  <a:rPr lang="zh-CN" altLang="en-US" b="1" dirty="0"/>
                  <a:t>张）</a:t>
                </a:r>
                <a:endParaRPr lang="zh-CN" altLang="en-US" b="1" dirty="0"/>
              </a:p>
            </p:txBody>
          </p:sp>
        </p:grpSp>
        <p:sp>
          <p:nvSpPr>
            <p:cNvPr id="34" name="íṥľiḑe"/>
            <p:cNvSpPr/>
            <p:nvPr/>
          </p:nvSpPr>
          <p:spPr>
            <a:xfrm>
              <a:off x="5989371" y="2817509"/>
              <a:ext cx="344754" cy="344234"/>
            </a:xfrm>
            <a:custGeom>
              <a:avLst/>
              <a:gdLst>
                <a:gd name="connsiteX0" fmla="*/ 519527 w 607639"/>
                <a:gd name="connsiteY0" fmla="*/ 441105 h 606722"/>
                <a:gd name="connsiteX1" fmla="*/ 591530 w 607639"/>
                <a:gd name="connsiteY1" fmla="*/ 512985 h 606722"/>
                <a:gd name="connsiteX2" fmla="*/ 607639 w 607639"/>
                <a:gd name="connsiteY2" fmla="*/ 551813 h 606722"/>
                <a:gd name="connsiteX3" fmla="*/ 591530 w 607639"/>
                <a:gd name="connsiteY3" fmla="*/ 590640 h 606722"/>
                <a:gd name="connsiteX4" fmla="*/ 552636 w 607639"/>
                <a:gd name="connsiteY4" fmla="*/ 606722 h 606722"/>
                <a:gd name="connsiteX5" fmla="*/ 513742 w 607639"/>
                <a:gd name="connsiteY5" fmla="*/ 590640 h 606722"/>
                <a:gd name="connsiteX6" fmla="*/ 441740 w 607639"/>
                <a:gd name="connsiteY6" fmla="*/ 518760 h 606722"/>
                <a:gd name="connsiteX7" fmla="*/ 484194 w 607639"/>
                <a:gd name="connsiteY7" fmla="*/ 483487 h 606722"/>
                <a:gd name="connsiteX8" fmla="*/ 519527 w 607639"/>
                <a:gd name="connsiteY8" fmla="*/ 441105 h 606722"/>
                <a:gd name="connsiteX9" fmla="*/ 143842 w 607639"/>
                <a:gd name="connsiteY9" fmla="*/ 314086 h 606722"/>
                <a:gd name="connsiteX10" fmla="*/ 143842 w 607639"/>
                <a:gd name="connsiteY10" fmla="*/ 359411 h 606722"/>
                <a:gd name="connsiteX11" fmla="*/ 207831 w 607639"/>
                <a:gd name="connsiteY11" fmla="*/ 359411 h 606722"/>
                <a:gd name="connsiteX12" fmla="*/ 207831 w 607639"/>
                <a:gd name="connsiteY12" fmla="*/ 314086 h 606722"/>
                <a:gd name="connsiteX13" fmla="*/ 231861 w 607639"/>
                <a:gd name="connsiteY13" fmla="*/ 279159 h 606722"/>
                <a:gd name="connsiteX14" fmla="*/ 231861 w 607639"/>
                <a:gd name="connsiteY14" fmla="*/ 359411 h 606722"/>
                <a:gd name="connsiteX15" fmla="*/ 295850 w 607639"/>
                <a:gd name="connsiteY15" fmla="*/ 359411 h 606722"/>
                <a:gd name="connsiteX16" fmla="*/ 295850 w 607639"/>
                <a:gd name="connsiteY16" fmla="*/ 279159 h 606722"/>
                <a:gd name="connsiteX17" fmla="*/ 319969 w 607639"/>
                <a:gd name="connsiteY17" fmla="*/ 244232 h 606722"/>
                <a:gd name="connsiteX18" fmla="*/ 319969 w 607639"/>
                <a:gd name="connsiteY18" fmla="*/ 359411 h 606722"/>
                <a:gd name="connsiteX19" fmla="*/ 383958 w 607639"/>
                <a:gd name="connsiteY19" fmla="*/ 359411 h 606722"/>
                <a:gd name="connsiteX20" fmla="*/ 383958 w 607639"/>
                <a:gd name="connsiteY20" fmla="*/ 244232 h 606722"/>
                <a:gd name="connsiteX21" fmla="*/ 143842 w 607639"/>
                <a:gd name="connsiteY21" fmla="*/ 237478 h 606722"/>
                <a:gd name="connsiteX22" fmla="*/ 143842 w 607639"/>
                <a:gd name="connsiteY22" fmla="*/ 278093 h 606722"/>
                <a:gd name="connsiteX23" fmla="*/ 207831 w 607639"/>
                <a:gd name="connsiteY23" fmla="*/ 278093 h 606722"/>
                <a:gd name="connsiteX24" fmla="*/ 207831 w 607639"/>
                <a:gd name="connsiteY24" fmla="*/ 237478 h 606722"/>
                <a:gd name="connsiteX25" fmla="*/ 231861 w 607639"/>
                <a:gd name="connsiteY25" fmla="*/ 202551 h 606722"/>
                <a:gd name="connsiteX26" fmla="*/ 231861 w 607639"/>
                <a:gd name="connsiteY26" fmla="*/ 243166 h 606722"/>
                <a:gd name="connsiteX27" fmla="*/ 295850 w 607639"/>
                <a:gd name="connsiteY27" fmla="*/ 243166 h 606722"/>
                <a:gd name="connsiteX28" fmla="*/ 295850 w 607639"/>
                <a:gd name="connsiteY28" fmla="*/ 202551 h 606722"/>
                <a:gd name="connsiteX29" fmla="*/ 319969 w 607639"/>
                <a:gd name="connsiteY29" fmla="*/ 167625 h 606722"/>
                <a:gd name="connsiteX30" fmla="*/ 319969 w 607639"/>
                <a:gd name="connsiteY30" fmla="*/ 208239 h 606722"/>
                <a:gd name="connsiteX31" fmla="*/ 383958 w 607639"/>
                <a:gd name="connsiteY31" fmla="*/ 208239 h 606722"/>
                <a:gd name="connsiteX32" fmla="*/ 383958 w 607639"/>
                <a:gd name="connsiteY32" fmla="*/ 167625 h 606722"/>
                <a:gd name="connsiteX33" fmla="*/ 267549 w 607639"/>
                <a:gd name="connsiteY33" fmla="*/ 92794 h 606722"/>
                <a:gd name="connsiteX34" fmla="*/ 442163 w 607639"/>
                <a:gd name="connsiteY34" fmla="*/ 267161 h 606722"/>
                <a:gd name="connsiteX35" fmla="*/ 267549 w 607639"/>
                <a:gd name="connsiteY35" fmla="*/ 441529 h 606722"/>
                <a:gd name="connsiteX36" fmla="*/ 92935 w 607639"/>
                <a:gd name="connsiteY36" fmla="*/ 267161 h 606722"/>
                <a:gd name="connsiteX37" fmla="*/ 267549 w 607639"/>
                <a:gd name="connsiteY37" fmla="*/ 92794 h 606722"/>
                <a:gd name="connsiteX38" fmla="*/ 267556 w 607639"/>
                <a:gd name="connsiteY38" fmla="*/ 56794 h 606722"/>
                <a:gd name="connsiteX39" fmla="*/ 56876 w 607639"/>
                <a:gd name="connsiteY39" fmla="*/ 267170 h 606722"/>
                <a:gd name="connsiteX40" fmla="*/ 267556 w 607639"/>
                <a:gd name="connsiteY40" fmla="*/ 477635 h 606722"/>
                <a:gd name="connsiteX41" fmla="*/ 478325 w 607639"/>
                <a:gd name="connsiteY41" fmla="*/ 267170 h 606722"/>
                <a:gd name="connsiteX42" fmla="*/ 267556 w 607639"/>
                <a:gd name="connsiteY42" fmla="*/ 56794 h 606722"/>
                <a:gd name="connsiteX43" fmla="*/ 268713 w 607639"/>
                <a:gd name="connsiteY43" fmla="*/ 0 h 606722"/>
                <a:gd name="connsiteX44" fmla="*/ 458744 w 607639"/>
                <a:gd name="connsiteY44" fmla="*/ 78569 h 606722"/>
                <a:gd name="connsiteX45" fmla="*/ 537426 w 607639"/>
                <a:gd name="connsiteY45" fmla="*/ 268325 h 606722"/>
                <a:gd name="connsiteX46" fmla="*/ 458744 w 607639"/>
                <a:gd name="connsiteY46" fmla="*/ 458081 h 606722"/>
                <a:gd name="connsiteX47" fmla="*/ 268713 w 607639"/>
                <a:gd name="connsiteY47" fmla="*/ 536650 h 606722"/>
                <a:gd name="connsiteX48" fmla="*/ 78682 w 607639"/>
                <a:gd name="connsiteY48" fmla="*/ 458081 h 606722"/>
                <a:gd name="connsiteX49" fmla="*/ 0 w 607639"/>
                <a:gd name="connsiteY49" fmla="*/ 268325 h 606722"/>
                <a:gd name="connsiteX50" fmla="*/ 78682 w 607639"/>
                <a:gd name="connsiteY50" fmla="*/ 78569 h 606722"/>
                <a:gd name="connsiteX51" fmla="*/ 268713 w 607639"/>
                <a:gd name="connsiteY51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607639" h="606722">
                  <a:moveTo>
                    <a:pt x="519527" y="441105"/>
                  </a:moveTo>
                  <a:lnTo>
                    <a:pt x="591530" y="512985"/>
                  </a:lnTo>
                  <a:cubicBezTo>
                    <a:pt x="601854" y="523292"/>
                    <a:pt x="607639" y="537063"/>
                    <a:pt x="607639" y="551813"/>
                  </a:cubicBezTo>
                  <a:cubicBezTo>
                    <a:pt x="607639" y="566473"/>
                    <a:pt x="601854" y="580245"/>
                    <a:pt x="591530" y="590640"/>
                  </a:cubicBezTo>
                  <a:cubicBezTo>
                    <a:pt x="581117" y="600947"/>
                    <a:pt x="567321" y="606722"/>
                    <a:pt x="552636" y="606722"/>
                  </a:cubicBezTo>
                  <a:cubicBezTo>
                    <a:pt x="537862" y="606722"/>
                    <a:pt x="524067" y="600947"/>
                    <a:pt x="513742" y="590640"/>
                  </a:cubicBezTo>
                  <a:lnTo>
                    <a:pt x="441740" y="518760"/>
                  </a:lnTo>
                  <a:cubicBezTo>
                    <a:pt x="456781" y="508365"/>
                    <a:pt x="470933" y="496636"/>
                    <a:pt x="484194" y="483487"/>
                  </a:cubicBezTo>
                  <a:cubicBezTo>
                    <a:pt x="497366" y="470248"/>
                    <a:pt x="509114" y="456121"/>
                    <a:pt x="519527" y="441105"/>
                  </a:cubicBezTo>
                  <a:close/>
                  <a:moveTo>
                    <a:pt x="143842" y="314086"/>
                  </a:moveTo>
                  <a:lnTo>
                    <a:pt x="143842" y="359411"/>
                  </a:lnTo>
                  <a:lnTo>
                    <a:pt x="207831" y="359411"/>
                  </a:lnTo>
                  <a:lnTo>
                    <a:pt x="207831" y="314086"/>
                  </a:lnTo>
                  <a:close/>
                  <a:moveTo>
                    <a:pt x="231861" y="279159"/>
                  </a:moveTo>
                  <a:lnTo>
                    <a:pt x="231861" y="359411"/>
                  </a:lnTo>
                  <a:lnTo>
                    <a:pt x="295850" y="359411"/>
                  </a:lnTo>
                  <a:lnTo>
                    <a:pt x="295850" y="279159"/>
                  </a:lnTo>
                  <a:close/>
                  <a:moveTo>
                    <a:pt x="319969" y="244232"/>
                  </a:moveTo>
                  <a:lnTo>
                    <a:pt x="319969" y="359411"/>
                  </a:lnTo>
                  <a:lnTo>
                    <a:pt x="383958" y="359411"/>
                  </a:lnTo>
                  <a:lnTo>
                    <a:pt x="383958" y="244232"/>
                  </a:lnTo>
                  <a:close/>
                  <a:moveTo>
                    <a:pt x="143842" y="237478"/>
                  </a:moveTo>
                  <a:lnTo>
                    <a:pt x="143842" y="278093"/>
                  </a:lnTo>
                  <a:lnTo>
                    <a:pt x="207831" y="278093"/>
                  </a:lnTo>
                  <a:lnTo>
                    <a:pt x="207831" y="237478"/>
                  </a:lnTo>
                  <a:close/>
                  <a:moveTo>
                    <a:pt x="231861" y="202551"/>
                  </a:moveTo>
                  <a:lnTo>
                    <a:pt x="231861" y="243166"/>
                  </a:lnTo>
                  <a:lnTo>
                    <a:pt x="295850" y="243166"/>
                  </a:lnTo>
                  <a:lnTo>
                    <a:pt x="295850" y="202551"/>
                  </a:lnTo>
                  <a:close/>
                  <a:moveTo>
                    <a:pt x="319969" y="167625"/>
                  </a:moveTo>
                  <a:lnTo>
                    <a:pt x="319969" y="208239"/>
                  </a:lnTo>
                  <a:lnTo>
                    <a:pt x="383958" y="208239"/>
                  </a:lnTo>
                  <a:lnTo>
                    <a:pt x="383958" y="167625"/>
                  </a:lnTo>
                  <a:close/>
                  <a:moveTo>
                    <a:pt x="267549" y="92794"/>
                  </a:moveTo>
                  <a:cubicBezTo>
                    <a:pt x="363845" y="92794"/>
                    <a:pt x="442163" y="171091"/>
                    <a:pt x="442163" y="267161"/>
                  </a:cubicBezTo>
                  <a:cubicBezTo>
                    <a:pt x="442163" y="363321"/>
                    <a:pt x="363845" y="441529"/>
                    <a:pt x="267549" y="441529"/>
                  </a:cubicBezTo>
                  <a:cubicBezTo>
                    <a:pt x="171342" y="441529"/>
                    <a:pt x="92935" y="363321"/>
                    <a:pt x="92935" y="267161"/>
                  </a:cubicBezTo>
                  <a:cubicBezTo>
                    <a:pt x="92935" y="171091"/>
                    <a:pt x="171342" y="92794"/>
                    <a:pt x="267549" y="92794"/>
                  </a:cubicBezTo>
                  <a:close/>
                  <a:moveTo>
                    <a:pt x="267556" y="56794"/>
                  </a:moveTo>
                  <a:cubicBezTo>
                    <a:pt x="151401" y="56794"/>
                    <a:pt x="56876" y="151183"/>
                    <a:pt x="56876" y="267170"/>
                  </a:cubicBezTo>
                  <a:cubicBezTo>
                    <a:pt x="56876" y="383245"/>
                    <a:pt x="151401" y="477635"/>
                    <a:pt x="267556" y="477635"/>
                  </a:cubicBezTo>
                  <a:cubicBezTo>
                    <a:pt x="383799" y="477635"/>
                    <a:pt x="478325" y="383245"/>
                    <a:pt x="478325" y="267170"/>
                  </a:cubicBezTo>
                  <a:cubicBezTo>
                    <a:pt x="478325" y="151183"/>
                    <a:pt x="383799" y="56794"/>
                    <a:pt x="267556" y="56794"/>
                  </a:cubicBezTo>
                  <a:close/>
                  <a:moveTo>
                    <a:pt x="268713" y="0"/>
                  </a:moveTo>
                  <a:cubicBezTo>
                    <a:pt x="340453" y="0"/>
                    <a:pt x="407920" y="27908"/>
                    <a:pt x="458744" y="78569"/>
                  </a:cubicBezTo>
                  <a:cubicBezTo>
                    <a:pt x="509478" y="129230"/>
                    <a:pt x="537426" y="196689"/>
                    <a:pt x="537426" y="268325"/>
                  </a:cubicBezTo>
                  <a:cubicBezTo>
                    <a:pt x="537426" y="339961"/>
                    <a:pt x="509478" y="407331"/>
                    <a:pt x="458744" y="458081"/>
                  </a:cubicBezTo>
                  <a:cubicBezTo>
                    <a:pt x="407920" y="508742"/>
                    <a:pt x="340453" y="536650"/>
                    <a:pt x="268713" y="536650"/>
                  </a:cubicBezTo>
                  <a:cubicBezTo>
                    <a:pt x="196973" y="536650"/>
                    <a:pt x="129417" y="508742"/>
                    <a:pt x="78682" y="458081"/>
                  </a:cubicBezTo>
                  <a:cubicBezTo>
                    <a:pt x="27948" y="407331"/>
                    <a:pt x="0" y="339961"/>
                    <a:pt x="0" y="268325"/>
                  </a:cubicBezTo>
                  <a:cubicBezTo>
                    <a:pt x="0" y="196689"/>
                    <a:pt x="27948" y="129230"/>
                    <a:pt x="78682" y="78569"/>
                  </a:cubicBezTo>
                  <a:cubicBezTo>
                    <a:pt x="129417" y="27908"/>
                    <a:pt x="196973" y="0"/>
                    <a:pt x="26871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lnSpcReduction="10000"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23" name="iṧlïďê"/>
          <p:cNvGrpSpPr/>
          <p:nvPr/>
        </p:nvGrpSpPr>
        <p:grpSpPr>
          <a:xfrm>
            <a:off x="4760454" y="3320630"/>
            <a:ext cx="4659522" cy="1432185"/>
            <a:chOff x="7090518" y="2647311"/>
            <a:chExt cx="4659522" cy="1432185"/>
          </a:xfrm>
        </p:grpSpPr>
        <p:sp>
          <p:nvSpPr>
            <p:cNvPr id="28" name="íšľíḍè"/>
            <p:cNvSpPr/>
            <p:nvPr/>
          </p:nvSpPr>
          <p:spPr bwMode="auto">
            <a:xfrm>
              <a:off x="8000346" y="3559518"/>
              <a:ext cx="3518554" cy="519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endParaRPr lang="en-US" altLang="zh-CN" sz="1100" dirty="0"/>
            </a:p>
          </p:txBody>
        </p:sp>
        <p:sp>
          <p:nvSpPr>
            <p:cNvPr id="29" name="íṣľíďe"/>
            <p:cNvSpPr txBox="1"/>
            <p:nvPr/>
          </p:nvSpPr>
          <p:spPr bwMode="auto">
            <a:xfrm>
              <a:off x="7090518" y="2647311"/>
              <a:ext cx="4659522" cy="360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b="1" dirty="0"/>
                <a:t>UI</a:t>
              </a:r>
              <a:r>
                <a:rPr lang="zh-CN" altLang="en-US" b="1" dirty="0"/>
                <a:t>界面设计并整合：安佳</a:t>
              </a:r>
              <a:r>
                <a:rPr lang="en-US" altLang="zh-CN" b="1" dirty="0"/>
                <a:t>/</a:t>
              </a:r>
              <a:r>
                <a:rPr lang="zh-CN" altLang="en-US" b="1" dirty="0"/>
                <a:t>李啸昆</a:t>
              </a:r>
              <a:r>
                <a:rPr lang="en-US" altLang="zh-CN" b="1" dirty="0"/>
                <a:t>/</a:t>
              </a:r>
              <a:r>
                <a:rPr lang="zh-CN" altLang="en-US" b="1" dirty="0"/>
                <a:t>刘万里</a:t>
              </a:r>
              <a:endParaRPr lang="zh-CN" altLang="en-US" b="1" dirty="0"/>
            </a:p>
          </p:txBody>
        </p:sp>
      </p:grpSp>
      <p:grpSp>
        <p:nvGrpSpPr>
          <p:cNvPr id="14" name="ï$ļiḓè"/>
          <p:cNvGrpSpPr/>
          <p:nvPr/>
        </p:nvGrpSpPr>
        <p:grpSpPr>
          <a:xfrm>
            <a:off x="3469335" y="5058094"/>
            <a:ext cx="4585577" cy="941692"/>
            <a:chOff x="3517461" y="5114480"/>
            <a:chExt cx="4585577" cy="941692"/>
          </a:xfrm>
        </p:grpSpPr>
        <p:grpSp>
          <p:nvGrpSpPr>
            <p:cNvPr id="16" name="íṣļíďe"/>
            <p:cNvGrpSpPr/>
            <p:nvPr/>
          </p:nvGrpSpPr>
          <p:grpSpPr>
            <a:xfrm>
              <a:off x="3517461" y="5114480"/>
              <a:ext cx="4585577" cy="941692"/>
              <a:chOff x="6940367" y="3137804"/>
              <a:chExt cx="4585577" cy="941692"/>
            </a:xfrm>
          </p:grpSpPr>
          <p:sp>
            <p:nvSpPr>
              <p:cNvPr id="21" name="íṣḻïďé"/>
              <p:cNvSpPr/>
              <p:nvPr/>
            </p:nvSpPr>
            <p:spPr bwMode="auto">
              <a:xfrm>
                <a:off x="8000346" y="3559518"/>
                <a:ext cx="3518554" cy="5199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endParaRPr lang="en-US" altLang="zh-CN" sz="1100" dirty="0"/>
              </a:p>
            </p:txBody>
          </p:sp>
          <p:sp>
            <p:nvSpPr>
              <p:cNvPr id="22" name="işľíďé"/>
              <p:cNvSpPr txBox="1"/>
              <p:nvPr/>
            </p:nvSpPr>
            <p:spPr bwMode="auto">
              <a:xfrm>
                <a:off x="6940367" y="3137804"/>
                <a:ext cx="4585577" cy="3607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b="1" dirty="0"/>
                  <a:t>项目总结：全组人共同参与完成</a:t>
                </a:r>
                <a:endParaRPr lang="zh-CN" altLang="en-US" b="1" dirty="0"/>
              </a:p>
            </p:txBody>
          </p:sp>
        </p:grpSp>
        <p:sp>
          <p:nvSpPr>
            <p:cNvPr id="20" name="íSḻiḍè"/>
            <p:cNvSpPr/>
            <p:nvPr/>
          </p:nvSpPr>
          <p:spPr>
            <a:xfrm>
              <a:off x="3707435" y="5423863"/>
              <a:ext cx="344754" cy="322926"/>
            </a:xfrm>
            <a:custGeom>
              <a:avLst/>
              <a:gdLst>
                <a:gd name="T0" fmla="*/ 4791 w 8427"/>
                <a:gd name="T1" fmla="*/ 0 h 7905"/>
                <a:gd name="T2" fmla="*/ 1815 w 8427"/>
                <a:gd name="T3" fmla="*/ 1550 h 7905"/>
                <a:gd name="T4" fmla="*/ 2213 w 8427"/>
                <a:gd name="T5" fmla="*/ 1918 h 7905"/>
                <a:gd name="T6" fmla="*/ 4418 w 8427"/>
                <a:gd name="T7" fmla="*/ 557 h 7905"/>
                <a:gd name="T8" fmla="*/ 4791 w 8427"/>
                <a:gd name="T9" fmla="*/ 1189 h 7905"/>
                <a:gd name="T10" fmla="*/ 5164 w 8427"/>
                <a:gd name="T11" fmla="*/ 557 h 7905"/>
                <a:gd name="T12" fmla="*/ 7870 w 8427"/>
                <a:gd name="T13" fmla="*/ 3263 h 7905"/>
                <a:gd name="T14" fmla="*/ 7238 w 8427"/>
                <a:gd name="T15" fmla="*/ 3636 h 7905"/>
                <a:gd name="T16" fmla="*/ 7870 w 8427"/>
                <a:gd name="T17" fmla="*/ 4009 h 7905"/>
                <a:gd name="T18" fmla="*/ 6448 w 8427"/>
                <a:gd name="T19" fmla="*/ 6254 h 7905"/>
                <a:gd name="T20" fmla="*/ 6529 w 8427"/>
                <a:gd name="T21" fmla="*/ 6597 h 7905"/>
                <a:gd name="T22" fmla="*/ 6506 w 8427"/>
                <a:gd name="T23" fmla="*/ 6841 h 7905"/>
                <a:gd name="T24" fmla="*/ 8427 w 8427"/>
                <a:gd name="T25" fmla="*/ 3636 h 7905"/>
                <a:gd name="T26" fmla="*/ 4791 w 8427"/>
                <a:gd name="T27" fmla="*/ 0 h 7905"/>
                <a:gd name="T28" fmla="*/ 5719 w 8427"/>
                <a:gd name="T29" fmla="*/ 5988 h 7905"/>
                <a:gd name="T30" fmla="*/ 4266 w 8427"/>
                <a:gd name="T31" fmla="*/ 6026 h 7905"/>
                <a:gd name="T32" fmla="*/ 2748 w 8427"/>
                <a:gd name="T33" fmla="*/ 5157 h 7905"/>
                <a:gd name="T34" fmla="*/ 1879 w 8427"/>
                <a:gd name="T35" fmla="*/ 3639 h 7905"/>
                <a:gd name="T36" fmla="*/ 1917 w 8427"/>
                <a:gd name="T37" fmla="*/ 2186 h 7905"/>
                <a:gd name="T38" fmla="*/ 426 w 8427"/>
                <a:gd name="T39" fmla="*/ 2360 h 7905"/>
                <a:gd name="T40" fmla="*/ 1969 w 8427"/>
                <a:gd name="T41" fmla="*/ 5936 h 7905"/>
                <a:gd name="T42" fmla="*/ 5545 w 8427"/>
                <a:gd name="T43" fmla="*/ 7480 h 7905"/>
                <a:gd name="T44" fmla="*/ 5719 w 8427"/>
                <a:gd name="T45" fmla="*/ 5988 h 7905"/>
                <a:gd name="T46" fmla="*/ 3166 w 8427"/>
                <a:gd name="T47" fmla="*/ 4205 h 7905"/>
                <a:gd name="T48" fmla="*/ 4038 w 8427"/>
                <a:gd name="T49" fmla="*/ 3037 h 7905"/>
                <a:gd name="T50" fmla="*/ 3821 w 8427"/>
                <a:gd name="T51" fmla="*/ 2836 h 7905"/>
                <a:gd name="T52" fmla="*/ 3522 w 8427"/>
                <a:gd name="T53" fmla="*/ 3051 h 7905"/>
                <a:gd name="T54" fmla="*/ 3155 w 8427"/>
                <a:gd name="T55" fmla="*/ 2805 h 7905"/>
                <a:gd name="T56" fmla="*/ 3866 w 8427"/>
                <a:gd name="T57" fmla="*/ 2370 h 7905"/>
                <a:gd name="T58" fmla="*/ 4555 w 8427"/>
                <a:gd name="T59" fmla="*/ 2989 h 7905"/>
                <a:gd name="T60" fmla="*/ 3728 w 8427"/>
                <a:gd name="T61" fmla="*/ 3999 h 7905"/>
                <a:gd name="T62" fmla="*/ 4586 w 8427"/>
                <a:gd name="T63" fmla="*/ 3999 h 7905"/>
                <a:gd name="T64" fmla="*/ 4586 w 8427"/>
                <a:gd name="T65" fmla="*/ 4422 h 7905"/>
                <a:gd name="T66" fmla="*/ 3189 w 8427"/>
                <a:gd name="T67" fmla="*/ 4422 h 7905"/>
                <a:gd name="T68" fmla="*/ 3166 w 8427"/>
                <a:gd name="T69" fmla="*/ 4205 h 7905"/>
                <a:gd name="T70" fmla="*/ 4792 w 8427"/>
                <a:gd name="T71" fmla="*/ 3635 h 7905"/>
                <a:gd name="T72" fmla="*/ 5571 w 8427"/>
                <a:gd name="T73" fmla="*/ 2404 h 7905"/>
                <a:gd name="T74" fmla="*/ 6175 w 8427"/>
                <a:gd name="T75" fmla="*/ 2404 h 7905"/>
                <a:gd name="T76" fmla="*/ 6175 w 8427"/>
                <a:gd name="T77" fmla="*/ 3525 h 7905"/>
                <a:gd name="T78" fmla="*/ 6415 w 8427"/>
                <a:gd name="T79" fmla="*/ 3525 h 7905"/>
                <a:gd name="T80" fmla="*/ 6415 w 8427"/>
                <a:gd name="T81" fmla="*/ 3934 h 7905"/>
                <a:gd name="T82" fmla="*/ 6175 w 8427"/>
                <a:gd name="T83" fmla="*/ 3934 h 7905"/>
                <a:gd name="T84" fmla="*/ 6175 w 8427"/>
                <a:gd name="T85" fmla="*/ 4422 h 7905"/>
                <a:gd name="T86" fmla="*/ 5687 w 8427"/>
                <a:gd name="T87" fmla="*/ 4422 h 7905"/>
                <a:gd name="T88" fmla="*/ 5687 w 8427"/>
                <a:gd name="T89" fmla="*/ 3934 h 7905"/>
                <a:gd name="T90" fmla="*/ 4792 w 8427"/>
                <a:gd name="T91" fmla="*/ 3934 h 7905"/>
                <a:gd name="T92" fmla="*/ 4792 w 8427"/>
                <a:gd name="T93" fmla="*/ 3635 h 7905"/>
                <a:gd name="T94" fmla="*/ 4792 w 8427"/>
                <a:gd name="T95" fmla="*/ 3635 h 7905"/>
                <a:gd name="T96" fmla="*/ 5687 w 8427"/>
                <a:gd name="T97" fmla="*/ 3525 h 7905"/>
                <a:gd name="T98" fmla="*/ 5687 w 8427"/>
                <a:gd name="T99" fmla="*/ 3073 h 7905"/>
                <a:gd name="T100" fmla="*/ 5704 w 8427"/>
                <a:gd name="T101" fmla="*/ 2847 h 7905"/>
                <a:gd name="T102" fmla="*/ 5698 w 8427"/>
                <a:gd name="T103" fmla="*/ 2847 h 7905"/>
                <a:gd name="T104" fmla="*/ 5599 w 8427"/>
                <a:gd name="T105" fmla="*/ 3056 h 7905"/>
                <a:gd name="T106" fmla="*/ 5295 w 8427"/>
                <a:gd name="T107" fmla="*/ 3519 h 7905"/>
                <a:gd name="T108" fmla="*/ 5295 w 8427"/>
                <a:gd name="T109" fmla="*/ 3525 h 7905"/>
                <a:gd name="T110" fmla="*/ 5687 w 8427"/>
                <a:gd name="T111" fmla="*/ 3525 h 7905"/>
                <a:gd name="T112" fmla="*/ 5687 w 8427"/>
                <a:gd name="T113" fmla="*/ 3525 h 7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27" h="7905">
                  <a:moveTo>
                    <a:pt x="4791" y="0"/>
                  </a:moveTo>
                  <a:cubicBezTo>
                    <a:pt x="3562" y="0"/>
                    <a:pt x="2474" y="614"/>
                    <a:pt x="1815" y="1550"/>
                  </a:cubicBezTo>
                  <a:cubicBezTo>
                    <a:pt x="1952" y="1639"/>
                    <a:pt x="2085" y="1761"/>
                    <a:pt x="2213" y="1918"/>
                  </a:cubicBezTo>
                  <a:cubicBezTo>
                    <a:pt x="2704" y="1183"/>
                    <a:pt x="3499" y="668"/>
                    <a:pt x="4418" y="557"/>
                  </a:cubicBezTo>
                  <a:lnTo>
                    <a:pt x="4791" y="1189"/>
                  </a:lnTo>
                  <a:lnTo>
                    <a:pt x="5164" y="557"/>
                  </a:lnTo>
                  <a:cubicBezTo>
                    <a:pt x="6577" y="727"/>
                    <a:pt x="7700" y="1850"/>
                    <a:pt x="7870" y="3263"/>
                  </a:cubicBezTo>
                  <a:lnTo>
                    <a:pt x="7238" y="3636"/>
                  </a:lnTo>
                  <a:lnTo>
                    <a:pt x="7870" y="4009"/>
                  </a:lnTo>
                  <a:cubicBezTo>
                    <a:pt x="7756" y="4954"/>
                    <a:pt x="7215" y="5767"/>
                    <a:pt x="6448" y="6254"/>
                  </a:cubicBezTo>
                  <a:cubicBezTo>
                    <a:pt x="6497" y="6366"/>
                    <a:pt x="6524" y="6480"/>
                    <a:pt x="6529" y="6597"/>
                  </a:cubicBezTo>
                  <a:cubicBezTo>
                    <a:pt x="6533" y="6683"/>
                    <a:pt x="6524" y="6764"/>
                    <a:pt x="6506" y="6841"/>
                  </a:cubicBezTo>
                  <a:cubicBezTo>
                    <a:pt x="7648" y="6227"/>
                    <a:pt x="8427" y="5021"/>
                    <a:pt x="8427" y="3636"/>
                  </a:cubicBezTo>
                  <a:cubicBezTo>
                    <a:pt x="8427" y="1631"/>
                    <a:pt x="6796" y="0"/>
                    <a:pt x="4791" y="0"/>
                  </a:cubicBezTo>
                  <a:close/>
                  <a:moveTo>
                    <a:pt x="5719" y="5988"/>
                  </a:moveTo>
                  <a:cubicBezTo>
                    <a:pt x="4881" y="5315"/>
                    <a:pt x="4646" y="5646"/>
                    <a:pt x="4266" y="6026"/>
                  </a:cubicBezTo>
                  <a:cubicBezTo>
                    <a:pt x="4000" y="6292"/>
                    <a:pt x="3328" y="5737"/>
                    <a:pt x="2748" y="5157"/>
                  </a:cubicBezTo>
                  <a:cubicBezTo>
                    <a:pt x="2168" y="4576"/>
                    <a:pt x="1614" y="3905"/>
                    <a:pt x="1879" y="3639"/>
                  </a:cubicBezTo>
                  <a:cubicBezTo>
                    <a:pt x="2259" y="3259"/>
                    <a:pt x="2590" y="3024"/>
                    <a:pt x="1917" y="2186"/>
                  </a:cubicBezTo>
                  <a:cubicBezTo>
                    <a:pt x="1243" y="1348"/>
                    <a:pt x="794" y="1992"/>
                    <a:pt x="426" y="2360"/>
                  </a:cubicBezTo>
                  <a:cubicBezTo>
                    <a:pt x="0" y="2785"/>
                    <a:pt x="403" y="4370"/>
                    <a:pt x="1969" y="5936"/>
                  </a:cubicBezTo>
                  <a:cubicBezTo>
                    <a:pt x="3535" y="7502"/>
                    <a:pt x="5120" y="7905"/>
                    <a:pt x="5545" y="7480"/>
                  </a:cubicBezTo>
                  <a:cubicBezTo>
                    <a:pt x="5913" y="7111"/>
                    <a:pt x="6557" y="6662"/>
                    <a:pt x="5719" y="5988"/>
                  </a:cubicBezTo>
                  <a:close/>
                  <a:moveTo>
                    <a:pt x="3166" y="4205"/>
                  </a:moveTo>
                  <a:cubicBezTo>
                    <a:pt x="3166" y="3460"/>
                    <a:pt x="4038" y="3327"/>
                    <a:pt x="4038" y="3037"/>
                  </a:cubicBezTo>
                  <a:cubicBezTo>
                    <a:pt x="4038" y="2895"/>
                    <a:pt x="3925" y="2836"/>
                    <a:pt x="3821" y="2836"/>
                  </a:cubicBezTo>
                  <a:cubicBezTo>
                    <a:pt x="3629" y="2836"/>
                    <a:pt x="3522" y="3051"/>
                    <a:pt x="3522" y="3051"/>
                  </a:cubicBezTo>
                  <a:lnTo>
                    <a:pt x="3155" y="2805"/>
                  </a:lnTo>
                  <a:cubicBezTo>
                    <a:pt x="3155" y="2805"/>
                    <a:pt x="3341" y="2370"/>
                    <a:pt x="3866" y="2370"/>
                  </a:cubicBezTo>
                  <a:cubicBezTo>
                    <a:pt x="4196" y="2370"/>
                    <a:pt x="4555" y="2560"/>
                    <a:pt x="4555" y="2989"/>
                  </a:cubicBezTo>
                  <a:cubicBezTo>
                    <a:pt x="4555" y="3618"/>
                    <a:pt x="3742" y="3739"/>
                    <a:pt x="3728" y="3999"/>
                  </a:cubicBezTo>
                  <a:lnTo>
                    <a:pt x="4586" y="3999"/>
                  </a:lnTo>
                  <a:lnTo>
                    <a:pt x="4586" y="4422"/>
                  </a:lnTo>
                  <a:lnTo>
                    <a:pt x="3189" y="4422"/>
                  </a:lnTo>
                  <a:cubicBezTo>
                    <a:pt x="3174" y="4343"/>
                    <a:pt x="3166" y="4273"/>
                    <a:pt x="3166" y="4205"/>
                  </a:cubicBezTo>
                  <a:close/>
                  <a:moveTo>
                    <a:pt x="4792" y="3635"/>
                  </a:moveTo>
                  <a:lnTo>
                    <a:pt x="5571" y="2404"/>
                  </a:lnTo>
                  <a:lnTo>
                    <a:pt x="6175" y="2404"/>
                  </a:lnTo>
                  <a:lnTo>
                    <a:pt x="6175" y="3525"/>
                  </a:lnTo>
                  <a:lnTo>
                    <a:pt x="6415" y="3525"/>
                  </a:lnTo>
                  <a:lnTo>
                    <a:pt x="6415" y="3934"/>
                  </a:lnTo>
                  <a:lnTo>
                    <a:pt x="6175" y="3934"/>
                  </a:lnTo>
                  <a:lnTo>
                    <a:pt x="6175" y="4422"/>
                  </a:lnTo>
                  <a:lnTo>
                    <a:pt x="5687" y="4422"/>
                  </a:lnTo>
                  <a:lnTo>
                    <a:pt x="5687" y="3934"/>
                  </a:lnTo>
                  <a:lnTo>
                    <a:pt x="4792" y="3934"/>
                  </a:lnTo>
                  <a:lnTo>
                    <a:pt x="4792" y="3635"/>
                  </a:lnTo>
                  <a:lnTo>
                    <a:pt x="4792" y="3635"/>
                  </a:lnTo>
                  <a:close/>
                  <a:moveTo>
                    <a:pt x="5687" y="3525"/>
                  </a:moveTo>
                  <a:lnTo>
                    <a:pt x="5687" y="3073"/>
                  </a:lnTo>
                  <a:cubicBezTo>
                    <a:pt x="5687" y="2963"/>
                    <a:pt x="5704" y="2847"/>
                    <a:pt x="5704" y="2847"/>
                  </a:cubicBezTo>
                  <a:lnTo>
                    <a:pt x="5698" y="2847"/>
                  </a:lnTo>
                  <a:cubicBezTo>
                    <a:pt x="5698" y="2847"/>
                    <a:pt x="5656" y="2972"/>
                    <a:pt x="5599" y="3056"/>
                  </a:cubicBezTo>
                  <a:lnTo>
                    <a:pt x="5295" y="3519"/>
                  </a:lnTo>
                  <a:lnTo>
                    <a:pt x="5295" y="3525"/>
                  </a:lnTo>
                  <a:lnTo>
                    <a:pt x="5687" y="3525"/>
                  </a:lnTo>
                  <a:lnTo>
                    <a:pt x="5687" y="3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20000"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45" name="标题 1"/>
          <p:cNvSpPr>
            <a:spLocks noGrp="1"/>
          </p:cNvSpPr>
          <p:nvPr>
            <p:ph type="title"/>
          </p:nvPr>
        </p:nvSpPr>
        <p:spPr>
          <a:xfrm>
            <a:off x="668337" y="257607"/>
            <a:ext cx="10850563" cy="771093"/>
          </a:xfrm>
        </p:spPr>
        <p:txBody>
          <a:bodyPr>
            <a:normAutofit/>
          </a:bodyPr>
          <a:lstStyle/>
          <a:p>
            <a:r>
              <a:rPr lang="en-US" altLang="zh-CN" dirty="0"/>
              <a:t>01/</a:t>
            </a:r>
            <a:r>
              <a:rPr lang="zh-CN" altLang="en-US" dirty="0"/>
              <a:t>工作分配情况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4110896" y="4293955"/>
            <a:ext cx="519290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700" b="1" dirty="0"/>
              <a:t>站立会议：每周五上交周报后进行（全员参加）</a:t>
            </a:r>
            <a:endParaRPr lang="zh-CN" altLang="en-US" sz="1700" b="1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Tm="0">
        <p:split orient="vert"/>
      </p:transition>
    </mc:Choice>
    <mc:Fallback>
      <p:transition spd="slow" advTm="0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457327" y="1270907"/>
            <a:ext cx="5419185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工作完成情况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458443" y="2166257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solidFill>
                  <a:schemeClr val="accent1"/>
                </a:solidFill>
              </a:rPr>
              <a:t>Supporting text here.</a:t>
            </a:r>
            <a:endParaRPr lang="en-US" altLang="zh-CN" dirty="0">
              <a:solidFill>
                <a:schemeClr val="accent1"/>
              </a:solidFill>
            </a:endParaRPr>
          </a:p>
          <a:p>
            <a:pPr lvl="0"/>
            <a:r>
              <a:rPr lang="en-US" altLang="zh-CN" dirty="0">
                <a:solidFill>
                  <a:schemeClr val="accent1"/>
                </a:solidFill>
              </a:rPr>
              <a:t>When you copy &amp; paste, choose "keep text only" option.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31446" y="1813471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00589B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/0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00589B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1901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1190171" y="3077028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 advTm="0">
    <p:pull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uiExpand="1" build="p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ï$1íḑè"/>
          <p:cNvSpPr/>
          <p:nvPr/>
        </p:nvSpPr>
        <p:spPr bwMode="auto">
          <a:xfrm flipH="1">
            <a:off x="10409472" y="1746499"/>
            <a:ext cx="1782528" cy="1812875"/>
          </a:xfrm>
          <a:custGeom>
            <a:avLst/>
            <a:gdLst>
              <a:gd name="T0" fmla="*/ 0 w 1294"/>
              <a:gd name="T1" fmla="*/ 0 h 1500"/>
              <a:gd name="T2" fmla="*/ 1294 w 1294"/>
              <a:gd name="T3" fmla="*/ 750 h 1500"/>
              <a:gd name="T4" fmla="*/ 0 w 1294"/>
              <a:gd name="T5" fmla="*/ 1500 h 1500"/>
              <a:gd name="T6" fmla="*/ 0 w 1294"/>
              <a:gd name="T7" fmla="*/ 0 h 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94" h="1500">
                <a:moveTo>
                  <a:pt x="0" y="0"/>
                </a:moveTo>
                <a:lnTo>
                  <a:pt x="1294" y="750"/>
                </a:lnTo>
                <a:lnTo>
                  <a:pt x="0" y="150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1"/>
            <a:srcRect/>
            <a:tile tx="0" ty="0" sx="100000" sy="100000" flip="none" algn="b"/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</a:p>
        </p:txBody>
      </p:sp>
      <p:cxnSp>
        <p:nvCxnSpPr>
          <p:cNvPr id="8" name="直接连接符 7"/>
          <p:cNvCxnSpPr/>
          <p:nvPr/>
        </p:nvCxnSpPr>
        <p:spPr>
          <a:xfrm flipV="1">
            <a:off x="8831476" y="1211400"/>
            <a:ext cx="0" cy="1137480"/>
          </a:xfrm>
          <a:prstGeom prst="line">
            <a:avLst/>
          </a:prstGeom>
          <a:ln w="3175" cap="rnd">
            <a:solidFill>
              <a:schemeClr val="tx1">
                <a:lumMod val="40000"/>
                <a:lumOff val="60000"/>
              </a:schemeClr>
            </a:solidFill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 flipV="1">
            <a:off x="11136560" y="3893316"/>
            <a:ext cx="0" cy="1628902"/>
          </a:xfrm>
          <a:prstGeom prst="line">
            <a:avLst/>
          </a:prstGeom>
          <a:ln w="3175" cap="rnd">
            <a:solidFill>
              <a:schemeClr val="tx1">
                <a:lumMod val="40000"/>
                <a:lumOff val="60000"/>
              </a:schemeClr>
            </a:solidFill>
            <a:round/>
            <a:headEnd type="oval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ïṩḷiḍê"/>
          <p:cNvSpPr/>
          <p:nvPr/>
        </p:nvSpPr>
        <p:spPr bwMode="auto">
          <a:xfrm>
            <a:off x="966042" y="3040860"/>
            <a:ext cx="206763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br>
              <a:rPr lang="zh-CN" altLang="en-US" sz="1000" dirty="0"/>
            </a:br>
            <a:r>
              <a:rPr lang="zh-CN" altLang="en-US" sz="1000" dirty="0"/>
              <a:t> </a:t>
            </a:r>
            <a:endParaRPr lang="zh-CN" altLang="en-US" sz="1000" dirty="0"/>
          </a:p>
        </p:txBody>
      </p:sp>
      <p:sp>
        <p:nvSpPr>
          <p:cNvPr id="12" name="îsḻíḓê"/>
          <p:cNvSpPr txBox="1"/>
          <p:nvPr/>
        </p:nvSpPr>
        <p:spPr bwMode="auto">
          <a:xfrm>
            <a:off x="133166" y="2652937"/>
            <a:ext cx="4130270" cy="71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9-14</a:t>
            </a:r>
            <a:r>
              <a:rPr lang="zh-CN" altLang="en-US" sz="1800" b="1" dirty="0"/>
              <a:t>周：学习模型并完成模型搭建</a:t>
            </a:r>
            <a:endParaRPr lang="en-US" altLang="zh-CN" sz="1800" b="1" dirty="0"/>
          </a:p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14-16</a:t>
            </a:r>
            <a:r>
              <a:rPr lang="zh-CN" altLang="en-US" sz="1800" b="1" dirty="0"/>
              <a:t>周：优化模型</a:t>
            </a:r>
            <a:endParaRPr lang="zh-CN" altLang="en-US" sz="1800" b="1" dirty="0"/>
          </a:p>
        </p:txBody>
      </p:sp>
      <p:sp>
        <p:nvSpPr>
          <p:cNvPr id="13" name="îṥḷiḑè"/>
          <p:cNvSpPr/>
          <p:nvPr/>
        </p:nvSpPr>
        <p:spPr bwMode="auto">
          <a:xfrm>
            <a:off x="1033419" y="2178990"/>
            <a:ext cx="461080" cy="439730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</a:p>
        </p:txBody>
      </p:sp>
      <p:sp>
        <p:nvSpPr>
          <p:cNvPr id="14" name="ïṥḷïḋé"/>
          <p:cNvSpPr/>
          <p:nvPr/>
        </p:nvSpPr>
        <p:spPr bwMode="auto">
          <a:xfrm>
            <a:off x="4263436" y="3109087"/>
            <a:ext cx="195360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来源：网上查找</a:t>
            </a:r>
            <a:br>
              <a:rPr lang="zh-CN" altLang="en-US" sz="1000" dirty="0"/>
            </a:br>
            <a:r>
              <a:rPr lang="zh-CN" altLang="en-US" sz="1000" dirty="0"/>
              <a:t> </a:t>
            </a:r>
            <a:endParaRPr lang="zh-CN" altLang="en-US" sz="1000" dirty="0"/>
          </a:p>
        </p:txBody>
      </p:sp>
      <p:sp>
        <p:nvSpPr>
          <p:cNvPr id="15" name="ïsľiḍè"/>
          <p:cNvSpPr txBox="1"/>
          <p:nvPr/>
        </p:nvSpPr>
        <p:spPr bwMode="auto">
          <a:xfrm>
            <a:off x="4263436" y="2757949"/>
            <a:ext cx="1953604" cy="35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zh-CN" b="1" dirty="0"/>
              <a:t>9-12</a:t>
            </a:r>
            <a:r>
              <a:rPr lang="zh-CN" altLang="en-US" b="1" dirty="0"/>
              <a:t>周：完成数据集收集工作</a:t>
            </a:r>
            <a:endParaRPr lang="zh-CN" altLang="en-US" b="1" dirty="0"/>
          </a:p>
        </p:txBody>
      </p:sp>
      <p:sp>
        <p:nvSpPr>
          <p:cNvPr id="16" name="ïSľïḑè"/>
          <p:cNvSpPr/>
          <p:nvPr/>
        </p:nvSpPr>
        <p:spPr bwMode="auto">
          <a:xfrm>
            <a:off x="4330813" y="2192609"/>
            <a:ext cx="461080" cy="460328"/>
          </a:xfrm>
          <a:custGeom>
            <a:avLst/>
            <a:gdLst>
              <a:gd name="connsiteX0" fmla="*/ 139649 w 606580"/>
              <a:gd name="connsiteY0" fmla="*/ 323260 h 605592"/>
              <a:gd name="connsiteX1" fmla="*/ 274852 w 606580"/>
              <a:gd name="connsiteY1" fmla="*/ 323260 h 605592"/>
              <a:gd name="connsiteX2" fmla="*/ 274852 w 606580"/>
              <a:gd name="connsiteY2" fmla="*/ 349440 h 605592"/>
              <a:gd name="connsiteX3" fmla="*/ 139649 w 606580"/>
              <a:gd name="connsiteY3" fmla="*/ 349440 h 605592"/>
              <a:gd name="connsiteX4" fmla="*/ 66294 w 606580"/>
              <a:gd name="connsiteY4" fmla="*/ 26233 h 605592"/>
              <a:gd name="connsiteX5" fmla="*/ 66294 w 606580"/>
              <a:gd name="connsiteY5" fmla="*/ 375703 h 605592"/>
              <a:gd name="connsiteX6" fmla="*/ 540286 w 606580"/>
              <a:gd name="connsiteY6" fmla="*/ 375703 h 605592"/>
              <a:gd name="connsiteX7" fmla="*/ 540286 w 606580"/>
              <a:gd name="connsiteY7" fmla="*/ 26233 h 605592"/>
              <a:gd name="connsiteX8" fmla="*/ 39925 w 606580"/>
              <a:gd name="connsiteY8" fmla="*/ 0 h 605592"/>
              <a:gd name="connsiteX9" fmla="*/ 566655 w 606580"/>
              <a:gd name="connsiteY9" fmla="*/ 0 h 605592"/>
              <a:gd name="connsiteX10" fmla="*/ 566655 w 606580"/>
              <a:gd name="connsiteY10" fmla="*/ 375703 h 605592"/>
              <a:gd name="connsiteX11" fmla="*/ 606580 w 606580"/>
              <a:gd name="connsiteY11" fmla="*/ 375703 h 605592"/>
              <a:gd name="connsiteX12" fmla="*/ 606580 w 606580"/>
              <a:gd name="connsiteY12" fmla="*/ 401936 h 605592"/>
              <a:gd name="connsiteX13" fmla="*/ 373716 w 606580"/>
              <a:gd name="connsiteY13" fmla="*/ 401936 h 605592"/>
              <a:gd name="connsiteX14" fmla="*/ 413269 w 606580"/>
              <a:gd name="connsiteY14" fmla="*/ 600587 h 605592"/>
              <a:gd name="connsiteX15" fmla="*/ 387364 w 606580"/>
              <a:gd name="connsiteY15" fmla="*/ 605592 h 605592"/>
              <a:gd name="connsiteX16" fmla="*/ 346790 w 606580"/>
              <a:gd name="connsiteY16" fmla="*/ 401936 h 605592"/>
              <a:gd name="connsiteX17" fmla="*/ 316521 w 606580"/>
              <a:gd name="connsiteY17" fmla="*/ 401936 h 605592"/>
              <a:gd name="connsiteX18" fmla="*/ 316521 w 606580"/>
              <a:gd name="connsiteY18" fmla="*/ 551828 h 605592"/>
              <a:gd name="connsiteX19" fmla="*/ 290059 w 606580"/>
              <a:gd name="connsiteY19" fmla="*/ 551828 h 605592"/>
              <a:gd name="connsiteX20" fmla="*/ 290059 w 606580"/>
              <a:gd name="connsiteY20" fmla="*/ 401936 h 605592"/>
              <a:gd name="connsiteX21" fmla="*/ 247163 w 606580"/>
              <a:gd name="connsiteY21" fmla="*/ 401936 h 605592"/>
              <a:gd name="connsiteX22" fmla="*/ 206588 w 606580"/>
              <a:gd name="connsiteY22" fmla="*/ 605592 h 605592"/>
              <a:gd name="connsiteX23" fmla="*/ 180591 w 606580"/>
              <a:gd name="connsiteY23" fmla="*/ 600494 h 605592"/>
              <a:gd name="connsiteX24" fmla="*/ 220237 w 606580"/>
              <a:gd name="connsiteY24" fmla="*/ 401936 h 605592"/>
              <a:gd name="connsiteX25" fmla="*/ 0 w 606580"/>
              <a:gd name="connsiteY25" fmla="*/ 401936 h 605592"/>
              <a:gd name="connsiteX26" fmla="*/ 0 w 606580"/>
              <a:gd name="connsiteY26" fmla="*/ 375703 h 605592"/>
              <a:gd name="connsiteX27" fmla="*/ 39925 w 606580"/>
              <a:gd name="connsiteY27" fmla="*/ 375703 h 60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06580" h="605592">
                <a:moveTo>
                  <a:pt x="139649" y="323260"/>
                </a:moveTo>
                <a:lnTo>
                  <a:pt x="274852" y="323260"/>
                </a:lnTo>
                <a:lnTo>
                  <a:pt x="274852" y="349440"/>
                </a:lnTo>
                <a:lnTo>
                  <a:pt x="139649" y="349440"/>
                </a:lnTo>
                <a:close/>
                <a:moveTo>
                  <a:pt x="66294" y="26233"/>
                </a:moveTo>
                <a:lnTo>
                  <a:pt x="66294" y="375703"/>
                </a:lnTo>
                <a:lnTo>
                  <a:pt x="540286" y="375703"/>
                </a:lnTo>
                <a:lnTo>
                  <a:pt x="540286" y="26233"/>
                </a:lnTo>
                <a:close/>
                <a:moveTo>
                  <a:pt x="39925" y="0"/>
                </a:moveTo>
                <a:lnTo>
                  <a:pt x="566655" y="0"/>
                </a:lnTo>
                <a:lnTo>
                  <a:pt x="566655" y="375703"/>
                </a:lnTo>
                <a:lnTo>
                  <a:pt x="606580" y="375703"/>
                </a:lnTo>
                <a:lnTo>
                  <a:pt x="606580" y="401936"/>
                </a:lnTo>
                <a:lnTo>
                  <a:pt x="373716" y="401936"/>
                </a:lnTo>
                <a:lnTo>
                  <a:pt x="413269" y="600587"/>
                </a:lnTo>
                <a:lnTo>
                  <a:pt x="387364" y="605592"/>
                </a:lnTo>
                <a:lnTo>
                  <a:pt x="346790" y="401936"/>
                </a:lnTo>
                <a:lnTo>
                  <a:pt x="316521" y="401936"/>
                </a:lnTo>
                <a:lnTo>
                  <a:pt x="316521" y="551828"/>
                </a:lnTo>
                <a:lnTo>
                  <a:pt x="290059" y="551828"/>
                </a:lnTo>
                <a:lnTo>
                  <a:pt x="290059" y="401936"/>
                </a:lnTo>
                <a:lnTo>
                  <a:pt x="247163" y="401936"/>
                </a:lnTo>
                <a:lnTo>
                  <a:pt x="206588" y="605592"/>
                </a:lnTo>
                <a:lnTo>
                  <a:pt x="180591" y="600494"/>
                </a:lnTo>
                <a:lnTo>
                  <a:pt x="220237" y="401936"/>
                </a:lnTo>
                <a:lnTo>
                  <a:pt x="0" y="401936"/>
                </a:lnTo>
                <a:lnTo>
                  <a:pt x="0" y="375703"/>
                </a:lnTo>
                <a:lnTo>
                  <a:pt x="39925" y="37570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/>
          <a:p>
            <a:pPr algn="ctr"/>
          </a:p>
        </p:txBody>
      </p:sp>
      <p:sp>
        <p:nvSpPr>
          <p:cNvPr id="17" name="íśľïḋe"/>
          <p:cNvSpPr/>
          <p:nvPr/>
        </p:nvSpPr>
        <p:spPr bwMode="auto">
          <a:xfrm>
            <a:off x="966042" y="4771381"/>
            <a:ext cx="206763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br>
              <a:rPr lang="zh-CN" altLang="en-US" sz="1000" dirty="0"/>
            </a:br>
            <a:r>
              <a:rPr lang="zh-CN" altLang="en-US" sz="1000" dirty="0"/>
              <a:t> </a:t>
            </a:r>
            <a:endParaRPr lang="zh-CN" altLang="en-US" sz="1000" dirty="0"/>
          </a:p>
        </p:txBody>
      </p:sp>
      <p:sp>
        <p:nvSpPr>
          <p:cNvPr id="18" name="işļïḍe"/>
          <p:cNvSpPr txBox="1"/>
          <p:nvPr/>
        </p:nvSpPr>
        <p:spPr bwMode="auto">
          <a:xfrm>
            <a:off x="133166" y="4383458"/>
            <a:ext cx="2909386" cy="38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zh-CN" b="1" dirty="0"/>
              <a:t>14-15</a:t>
            </a:r>
            <a:r>
              <a:rPr lang="zh-CN" altLang="en-US" b="1" dirty="0"/>
              <a:t>周：完成</a:t>
            </a:r>
            <a:r>
              <a:rPr lang="en-US" altLang="zh-CN" b="1" dirty="0"/>
              <a:t>UI</a:t>
            </a:r>
            <a:r>
              <a:rPr lang="zh-CN" altLang="en-US" b="1" dirty="0"/>
              <a:t>界面设计</a:t>
            </a:r>
            <a:endParaRPr lang="zh-CN" altLang="en-US" b="1" dirty="0"/>
          </a:p>
        </p:txBody>
      </p:sp>
      <p:sp>
        <p:nvSpPr>
          <p:cNvPr id="19" name="iŝľíḋé"/>
          <p:cNvSpPr/>
          <p:nvPr/>
        </p:nvSpPr>
        <p:spPr bwMode="auto">
          <a:xfrm>
            <a:off x="1033419" y="3913648"/>
            <a:ext cx="461080" cy="460374"/>
          </a:xfrm>
          <a:custGeom>
            <a:avLst/>
            <a:gdLst>
              <a:gd name="connsiteX0" fmla="*/ 424725 w 607004"/>
              <a:gd name="connsiteY0" fmla="*/ 67461 h 606075"/>
              <a:gd name="connsiteX1" fmla="*/ 522693 w 607004"/>
              <a:gd name="connsiteY1" fmla="*/ 67461 h 606075"/>
              <a:gd name="connsiteX2" fmla="*/ 539544 w 607004"/>
              <a:gd name="connsiteY2" fmla="*/ 84287 h 606075"/>
              <a:gd name="connsiteX3" fmla="*/ 539544 w 607004"/>
              <a:gd name="connsiteY3" fmla="*/ 182109 h 606075"/>
              <a:gd name="connsiteX4" fmla="*/ 522693 w 607004"/>
              <a:gd name="connsiteY4" fmla="*/ 198935 h 606075"/>
              <a:gd name="connsiteX5" fmla="*/ 505843 w 607004"/>
              <a:gd name="connsiteY5" fmla="*/ 182109 h 606075"/>
              <a:gd name="connsiteX6" fmla="*/ 505843 w 607004"/>
              <a:gd name="connsiteY6" fmla="*/ 124830 h 606075"/>
              <a:gd name="connsiteX7" fmla="*/ 332046 w 607004"/>
              <a:gd name="connsiteY7" fmla="*/ 298457 h 606075"/>
              <a:gd name="connsiteX8" fmla="*/ 308204 w 607004"/>
              <a:gd name="connsiteY8" fmla="*/ 298457 h 606075"/>
              <a:gd name="connsiteX9" fmla="*/ 233450 w 607004"/>
              <a:gd name="connsiteY9" fmla="*/ 223905 h 606075"/>
              <a:gd name="connsiteX10" fmla="*/ 96134 w 607004"/>
              <a:gd name="connsiteY10" fmla="*/ 361017 h 606075"/>
              <a:gd name="connsiteX11" fmla="*/ 72381 w 607004"/>
              <a:gd name="connsiteY11" fmla="*/ 361106 h 606075"/>
              <a:gd name="connsiteX12" fmla="*/ 72381 w 607004"/>
              <a:gd name="connsiteY12" fmla="*/ 337210 h 606075"/>
              <a:gd name="connsiteX13" fmla="*/ 221529 w 607004"/>
              <a:gd name="connsiteY13" fmla="*/ 188105 h 606075"/>
              <a:gd name="connsiteX14" fmla="*/ 245461 w 607004"/>
              <a:gd name="connsiteY14" fmla="*/ 188105 h 606075"/>
              <a:gd name="connsiteX15" fmla="*/ 320125 w 607004"/>
              <a:gd name="connsiteY15" fmla="*/ 262658 h 606075"/>
              <a:gd name="connsiteX16" fmla="*/ 481911 w 607004"/>
              <a:gd name="connsiteY16" fmla="*/ 101113 h 606075"/>
              <a:gd name="connsiteX17" fmla="*/ 424725 w 607004"/>
              <a:gd name="connsiteY17" fmla="*/ 101113 h 606075"/>
              <a:gd name="connsiteX18" fmla="*/ 407875 w 607004"/>
              <a:gd name="connsiteY18" fmla="*/ 84287 h 606075"/>
              <a:gd name="connsiteX19" fmla="*/ 424725 w 607004"/>
              <a:gd name="connsiteY19" fmla="*/ 67461 h 606075"/>
              <a:gd name="connsiteX20" fmla="*/ 33697 w 607004"/>
              <a:gd name="connsiteY20" fmla="*/ 33647 h 606075"/>
              <a:gd name="connsiteX21" fmla="*/ 33697 w 607004"/>
              <a:gd name="connsiteY21" fmla="*/ 399644 h 606075"/>
              <a:gd name="connsiteX22" fmla="*/ 573307 w 607004"/>
              <a:gd name="connsiteY22" fmla="*/ 399644 h 606075"/>
              <a:gd name="connsiteX23" fmla="*/ 573307 w 607004"/>
              <a:gd name="connsiteY23" fmla="*/ 33647 h 606075"/>
              <a:gd name="connsiteX24" fmla="*/ 16849 w 607004"/>
              <a:gd name="connsiteY24" fmla="*/ 0 h 606075"/>
              <a:gd name="connsiteX25" fmla="*/ 590155 w 607004"/>
              <a:gd name="connsiteY25" fmla="*/ 0 h 606075"/>
              <a:gd name="connsiteX26" fmla="*/ 607004 w 607004"/>
              <a:gd name="connsiteY26" fmla="*/ 16823 h 606075"/>
              <a:gd name="connsiteX27" fmla="*/ 607004 w 607004"/>
              <a:gd name="connsiteY27" fmla="*/ 416468 h 606075"/>
              <a:gd name="connsiteX28" fmla="*/ 590155 w 607004"/>
              <a:gd name="connsiteY28" fmla="*/ 433291 h 606075"/>
              <a:gd name="connsiteX29" fmla="*/ 320396 w 607004"/>
              <a:gd name="connsiteY29" fmla="*/ 433291 h 606075"/>
              <a:gd name="connsiteX30" fmla="*/ 320396 w 607004"/>
              <a:gd name="connsiteY30" fmla="*/ 503448 h 606075"/>
              <a:gd name="connsiteX31" fmla="*/ 456441 w 607004"/>
              <a:gd name="connsiteY31" fmla="*/ 577990 h 606075"/>
              <a:gd name="connsiteX32" fmla="*/ 455276 w 607004"/>
              <a:gd name="connsiteY32" fmla="*/ 601704 h 606075"/>
              <a:gd name="connsiteX33" fmla="*/ 431526 w 607004"/>
              <a:gd name="connsiteY33" fmla="*/ 600540 h 606075"/>
              <a:gd name="connsiteX34" fmla="*/ 320396 w 607004"/>
              <a:gd name="connsiteY34" fmla="*/ 537184 h 606075"/>
              <a:gd name="connsiteX35" fmla="*/ 320396 w 607004"/>
              <a:gd name="connsiteY35" fmla="*/ 589175 h 606075"/>
              <a:gd name="connsiteX36" fmla="*/ 303547 w 607004"/>
              <a:gd name="connsiteY36" fmla="*/ 605999 h 606075"/>
              <a:gd name="connsiteX37" fmla="*/ 286698 w 607004"/>
              <a:gd name="connsiteY37" fmla="*/ 589175 h 606075"/>
              <a:gd name="connsiteX38" fmla="*/ 286698 w 607004"/>
              <a:gd name="connsiteY38" fmla="*/ 537184 h 606075"/>
              <a:gd name="connsiteX39" fmla="*/ 175568 w 607004"/>
              <a:gd name="connsiteY39" fmla="*/ 600540 h 606075"/>
              <a:gd name="connsiteX40" fmla="*/ 151729 w 607004"/>
              <a:gd name="connsiteY40" fmla="*/ 601704 h 606075"/>
              <a:gd name="connsiteX41" fmla="*/ 150564 w 607004"/>
              <a:gd name="connsiteY41" fmla="*/ 577990 h 606075"/>
              <a:gd name="connsiteX42" fmla="*/ 286698 w 607004"/>
              <a:gd name="connsiteY42" fmla="*/ 503448 h 606075"/>
              <a:gd name="connsiteX43" fmla="*/ 286698 w 607004"/>
              <a:gd name="connsiteY43" fmla="*/ 433291 h 606075"/>
              <a:gd name="connsiteX44" fmla="*/ 16849 w 607004"/>
              <a:gd name="connsiteY44" fmla="*/ 433291 h 606075"/>
              <a:gd name="connsiteX45" fmla="*/ 0 w 607004"/>
              <a:gd name="connsiteY45" fmla="*/ 416468 h 606075"/>
              <a:gd name="connsiteX46" fmla="*/ 0 w 607004"/>
              <a:gd name="connsiteY46" fmla="*/ 16823 h 606075"/>
              <a:gd name="connsiteX47" fmla="*/ 16849 w 607004"/>
              <a:gd name="connsiteY47" fmla="*/ 0 h 60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004" h="606075">
                <a:moveTo>
                  <a:pt x="424725" y="67461"/>
                </a:moveTo>
                <a:lnTo>
                  <a:pt x="522693" y="67461"/>
                </a:lnTo>
                <a:cubicBezTo>
                  <a:pt x="532015" y="67461"/>
                  <a:pt x="539544" y="74979"/>
                  <a:pt x="539544" y="84287"/>
                </a:cubicBezTo>
                <a:lnTo>
                  <a:pt x="539544" y="182109"/>
                </a:lnTo>
                <a:cubicBezTo>
                  <a:pt x="539544" y="191417"/>
                  <a:pt x="532015" y="198935"/>
                  <a:pt x="522693" y="198935"/>
                </a:cubicBezTo>
                <a:cubicBezTo>
                  <a:pt x="513372" y="198935"/>
                  <a:pt x="505843" y="191417"/>
                  <a:pt x="505843" y="182109"/>
                </a:cubicBezTo>
                <a:lnTo>
                  <a:pt x="505843" y="124830"/>
                </a:lnTo>
                <a:lnTo>
                  <a:pt x="332046" y="298457"/>
                </a:lnTo>
                <a:cubicBezTo>
                  <a:pt x="325772" y="304811"/>
                  <a:pt x="314478" y="304811"/>
                  <a:pt x="308204" y="298457"/>
                </a:cubicBezTo>
                <a:lnTo>
                  <a:pt x="233450" y="223905"/>
                </a:lnTo>
                <a:lnTo>
                  <a:pt x="96134" y="361017"/>
                </a:lnTo>
                <a:cubicBezTo>
                  <a:pt x="92907" y="364328"/>
                  <a:pt x="80717" y="369340"/>
                  <a:pt x="72381" y="361106"/>
                </a:cubicBezTo>
                <a:cubicBezTo>
                  <a:pt x="65838" y="354394"/>
                  <a:pt x="65838" y="343833"/>
                  <a:pt x="72381" y="337210"/>
                </a:cubicBezTo>
                <a:lnTo>
                  <a:pt x="221529" y="188105"/>
                </a:lnTo>
                <a:cubicBezTo>
                  <a:pt x="227893" y="181751"/>
                  <a:pt x="239097" y="181751"/>
                  <a:pt x="245461" y="188105"/>
                </a:cubicBezTo>
                <a:lnTo>
                  <a:pt x="320125" y="262658"/>
                </a:lnTo>
                <a:lnTo>
                  <a:pt x="481911" y="101113"/>
                </a:lnTo>
                <a:lnTo>
                  <a:pt x="424725" y="101113"/>
                </a:lnTo>
                <a:cubicBezTo>
                  <a:pt x="415404" y="101113"/>
                  <a:pt x="407875" y="93595"/>
                  <a:pt x="407875" y="84287"/>
                </a:cubicBezTo>
                <a:cubicBezTo>
                  <a:pt x="407875" y="74979"/>
                  <a:pt x="415404" y="67461"/>
                  <a:pt x="424725" y="67461"/>
                </a:cubicBezTo>
                <a:close/>
                <a:moveTo>
                  <a:pt x="33697" y="33647"/>
                </a:moveTo>
                <a:lnTo>
                  <a:pt x="33697" y="399644"/>
                </a:lnTo>
                <a:lnTo>
                  <a:pt x="573307" y="399644"/>
                </a:lnTo>
                <a:lnTo>
                  <a:pt x="573307" y="33647"/>
                </a:lnTo>
                <a:close/>
                <a:moveTo>
                  <a:pt x="16849" y="0"/>
                </a:moveTo>
                <a:lnTo>
                  <a:pt x="590155" y="0"/>
                </a:lnTo>
                <a:cubicBezTo>
                  <a:pt x="599476" y="0"/>
                  <a:pt x="607004" y="7517"/>
                  <a:pt x="607004" y="16823"/>
                </a:cubicBezTo>
                <a:lnTo>
                  <a:pt x="607004" y="416468"/>
                </a:lnTo>
                <a:cubicBezTo>
                  <a:pt x="607004" y="425774"/>
                  <a:pt x="599476" y="433291"/>
                  <a:pt x="590155" y="433291"/>
                </a:cubicBezTo>
                <a:lnTo>
                  <a:pt x="320396" y="433291"/>
                </a:lnTo>
                <a:lnTo>
                  <a:pt x="320396" y="503448"/>
                </a:lnTo>
                <a:cubicBezTo>
                  <a:pt x="369598" y="508191"/>
                  <a:pt x="416290" y="533694"/>
                  <a:pt x="456441" y="577990"/>
                </a:cubicBezTo>
                <a:cubicBezTo>
                  <a:pt x="462714" y="584791"/>
                  <a:pt x="462176" y="595529"/>
                  <a:pt x="455276" y="601704"/>
                </a:cubicBezTo>
                <a:cubicBezTo>
                  <a:pt x="448375" y="607968"/>
                  <a:pt x="437710" y="607431"/>
                  <a:pt x="431526" y="600540"/>
                </a:cubicBezTo>
                <a:cubicBezTo>
                  <a:pt x="398008" y="563672"/>
                  <a:pt x="359919" y="541927"/>
                  <a:pt x="320396" y="537184"/>
                </a:cubicBezTo>
                <a:lnTo>
                  <a:pt x="320396" y="589175"/>
                </a:lnTo>
                <a:cubicBezTo>
                  <a:pt x="320396" y="598482"/>
                  <a:pt x="312868" y="605999"/>
                  <a:pt x="303547" y="605999"/>
                </a:cubicBezTo>
                <a:cubicBezTo>
                  <a:pt x="294226" y="605999"/>
                  <a:pt x="286698" y="598482"/>
                  <a:pt x="286698" y="589175"/>
                </a:cubicBezTo>
                <a:lnTo>
                  <a:pt x="286698" y="537184"/>
                </a:lnTo>
                <a:cubicBezTo>
                  <a:pt x="247086" y="542106"/>
                  <a:pt x="208997" y="563672"/>
                  <a:pt x="175568" y="600540"/>
                </a:cubicBezTo>
                <a:cubicBezTo>
                  <a:pt x="172162" y="604209"/>
                  <a:pt x="159436" y="608415"/>
                  <a:pt x="151729" y="601704"/>
                </a:cubicBezTo>
                <a:cubicBezTo>
                  <a:pt x="144828" y="595619"/>
                  <a:pt x="144380" y="584880"/>
                  <a:pt x="150564" y="577990"/>
                </a:cubicBezTo>
                <a:cubicBezTo>
                  <a:pt x="190714" y="533605"/>
                  <a:pt x="237407" y="508191"/>
                  <a:pt x="286698" y="503448"/>
                </a:cubicBezTo>
                <a:lnTo>
                  <a:pt x="286698" y="433291"/>
                </a:lnTo>
                <a:lnTo>
                  <a:pt x="16849" y="433291"/>
                </a:lnTo>
                <a:cubicBezTo>
                  <a:pt x="7528" y="433291"/>
                  <a:pt x="0" y="425774"/>
                  <a:pt x="0" y="416468"/>
                </a:cubicBezTo>
                <a:lnTo>
                  <a:pt x="0" y="16823"/>
                </a:lnTo>
                <a:cubicBezTo>
                  <a:pt x="0" y="7517"/>
                  <a:pt x="7528" y="0"/>
                  <a:pt x="1684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/>
          <a:p>
            <a:pPr algn="ctr"/>
          </a:p>
        </p:txBody>
      </p:sp>
      <p:sp>
        <p:nvSpPr>
          <p:cNvPr id="20" name="işliḋè"/>
          <p:cNvSpPr/>
          <p:nvPr/>
        </p:nvSpPr>
        <p:spPr bwMode="auto">
          <a:xfrm>
            <a:off x="4263436" y="4777247"/>
            <a:ext cx="195360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zh-CN" altLang="en-US" sz="1000" dirty="0"/>
          </a:p>
        </p:txBody>
      </p:sp>
      <p:sp>
        <p:nvSpPr>
          <p:cNvPr id="21" name="íṡḷíḑé"/>
          <p:cNvSpPr txBox="1"/>
          <p:nvPr/>
        </p:nvSpPr>
        <p:spPr bwMode="auto">
          <a:xfrm>
            <a:off x="4263435" y="4456590"/>
            <a:ext cx="2683635" cy="320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85000" lnSpcReduction="20000"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zh-CN" b="1" dirty="0"/>
              <a:t>15-16</a:t>
            </a:r>
            <a:r>
              <a:rPr lang="zh-CN" altLang="en-US" b="1" dirty="0"/>
              <a:t>周：项目收尾总结</a:t>
            </a:r>
            <a:endParaRPr lang="zh-CN" altLang="en-US" b="1" dirty="0"/>
          </a:p>
        </p:txBody>
      </p:sp>
      <p:sp>
        <p:nvSpPr>
          <p:cNvPr id="22" name="îṣ1íḑè"/>
          <p:cNvSpPr/>
          <p:nvPr/>
        </p:nvSpPr>
        <p:spPr bwMode="auto">
          <a:xfrm>
            <a:off x="4330813" y="3893316"/>
            <a:ext cx="461080" cy="460366"/>
          </a:xfrm>
          <a:custGeom>
            <a:avLst/>
            <a:gdLst>
              <a:gd name="connsiteX0" fmla="*/ 12438 w 608556"/>
              <a:gd name="connsiteY0" fmla="*/ 316909 h 607614"/>
              <a:gd name="connsiteX1" fmla="*/ 596024 w 608556"/>
              <a:gd name="connsiteY1" fmla="*/ 316909 h 607614"/>
              <a:gd name="connsiteX2" fmla="*/ 608556 w 608556"/>
              <a:gd name="connsiteY2" fmla="*/ 329424 h 607614"/>
              <a:gd name="connsiteX3" fmla="*/ 596024 w 608556"/>
              <a:gd name="connsiteY3" fmla="*/ 341846 h 607614"/>
              <a:gd name="connsiteX4" fmla="*/ 316764 w 608556"/>
              <a:gd name="connsiteY4" fmla="*/ 341846 h 607614"/>
              <a:gd name="connsiteX5" fmla="*/ 316764 w 608556"/>
              <a:gd name="connsiteY5" fmla="*/ 500244 h 607614"/>
              <a:gd name="connsiteX6" fmla="*/ 414495 w 608556"/>
              <a:gd name="connsiteY6" fmla="*/ 585795 h 607614"/>
              <a:gd name="connsiteX7" fmla="*/ 415618 w 608556"/>
              <a:gd name="connsiteY7" fmla="*/ 603353 h 607614"/>
              <a:gd name="connsiteX8" fmla="*/ 406265 w 608556"/>
              <a:gd name="connsiteY8" fmla="*/ 607556 h 607614"/>
              <a:gd name="connsiteX9" fmla="*/ 398035 w 608556"/>
              <a:gd name="connsiteY9" fmla="*/ 604474 h 607614"/>
              <a:gd name="connsiteX10" fmla="*/ 316764 w 608556"/>
              <a:gd name="connsiteY10" fmla="*/ 533400 h 607614"/>
              <a:gd name="connsiteX11" fmla="*/ 316764 w 608556"/>
              <a:gd name="connsiteY11" fmla="*/ 594107 h 607614"/>
              <a:gd name="connsiteX12" fmla="*/ 304231 w 608556"/>
              <a:gd name="connsiteY12" fmla="*/ 606622 h 607614"/>
              <a:gd name="connsiteX13" fmla="*/ 291793 w 608556"/>
              <a:gd name="connsiteY13" fmla="*/ 594107 h 607614"/>
              <a:gd name="connsiteX14" fmla="*/ 291793 w 608556"/>
              <a:gd name="connsiteY14" fmla="*/ 533400 h 607614"/>
              <a:gd name="connsiteX15" fmla="*/ 210521 w 608556"/>
              <a:gd name="connsiteY15" fmla="*/ 604474 h 607614"/>
              <a:gd name="connsiteX16" fmla="*/ 192938 w 608556"/>
              <a:gd name="connsiteY16" fmla="*/ 603353 h 607614"/>
              <a:gd name="connsiteX17" fmla="*/ 194061 w 608556"/>
              <a:gd name="connsiteY17" fmla="*/ 585795 h 607614"/>
              <a:gd name="connsiteX18" fmla="*/ 291793 w 608556"/>
              <a:gd name="connsiteY18" fmla="*/ 500244 h 607614"/>
              <a:gd name="connsiteX19" fmla="*/ 291793 w 608556"/>
              <a:gd name="connsiteY19" fmla="*/ 341846 h 607614"/>
              <a:gd name="connsiteX20" fmla="*/ 12438 w 608556"/>
              <a:gd name="connsiteY20" fmla="*/ 341846 h 607614"/>
              <a:gd name="connsiteX21" fmla="*/ 0 w 608556"/>
              <a:gd name="connsiteY21" fmla="*/ 329424 h 607614"/>
              <a:gd name="connsiteX22" fmla="*/ 12438 w 608556"/>
              <a:gd name="connsiteY22" fmla="*/ 316909 h 607614"/>
              <a:gd name="connsiteX23" fmla="*/ 278583 w 608556"/>
              <a:gd name="connsiteY23" fmla="*/ 124789 h 607614"/>
              <a:gd name="connsiteX24" fmla="*/ 278583 w 608556"/>
              <a:gd name="connsiteY24" fmla="*/ 169701 h 607614"/>
              <a:gd name="connsiteX25" fmla="*/ 317489 w 608556"/>
              <a:gd name="connsiteY25" fmla="*/ 150466 h 607614"/>
              <a:gd name="connsiteX26" fmla="*/ 260252 w 608556"/>
              <a:gd name="connsiteY26" fmla="*/ 90708 h 607614"/>
              <a:gd name="connsiteX27" fmla="*/ 272972 w 608556"/>
              <a:gd name="connsiteY27" fmla="*/ 91268 h 607614"/>
              <a:gd name="connsiteX28" fmla="*/ 349287 w 608556"/>
              <a:gd name="connsiteY28" fmla="*/ 141596 h 607614"/>
              <a:gd name="connsiteX29" fmla="*/ 354898 w 608556"/>
              <a:gd name="connsiteY29" fmla="*/ 152801 h 607614"/>
              <a:gd name="connsiteX30" fmla="*/ 347977 w 608556"/>
              <a:gd name="connsiteY30" fmla="*/ 163165 h 607614"/>
              <a:gd name="connsiteX31" fmla="*/ 271662 w 608556"/>
              <a:gd name="connsiteY31" fmla="*/ 201075 h 607614"/>
              <a:gd name="connsiteX32" fmla="*/ 266051 w 608556"/>
              <a:gd name="connsiteY32" fmla="*/ 202382 h 607614"/>
              <a:gd name="connsiteX33" fmla="*/ 259504 w 608556"/>
              <a:gd name="connsiteY33" fmla="*/ 200515 h 607614"/>
              <a:gd name="connsiteX34" fmla="*/ 253612 w 608556"/>
              <a:gd name="connsiteY34" fmla="*/ 189870 h 607614"/>
              <a:gd name="connsiteX35" fmla="*/ 253612 w 608556"/>
              <a:gd name="connsiteY35" fmla="*/ 101632 h 607614"/>
              <a:gd name="connsiteX36" fmla="*/ 260252 w 608556"/>
              <a:gd name="connsiteY36" fmla="*/ 90708 h 607614"/>
              <a:gd name="connsiteX37" fmla="*/ 87934 w 608556"/>
              <a:gd name="connsiteY37" fmla="*/ 24932 h 607614"/>
              <a:gd name="connsiteX38" fmla="*/ 87934 w 608556"/>
              <a:gd name="connsiteY38" fmla="*/ 265656 h 607614"/>
              <a:gd name="connsiteX39" fmla="*/ 520692 w 608556"/>
              <a:gd name="connsiteY39" fmla="*/ 265656 h 607614"/>
              <a:gd name="connsiteX40" fmla="*/ 520692 w 608556"/>
              <a:gd name="connsiteY40" fmla="*/ 24932 h 607614"/>
              <a:gd name="connsiteX41" fmla="*/ 75310 w 608556"/>
              <a:gd name="connsiteY41" fmla="*/ 0 h 607614"/>
              <a:gd name="connsiteX42" fmla="*/ 533035 w 608556"/>
              <a:gd name="connsiteY42" fmla="*/ 0 h 607614"/>
              <a:gd name="connsiteX43" fmla="*/ 545471 w 608556"/>
              <a:gd name="connsiteY43" fmla="*/ 12419 h 607614"/>
              <a:gd name="connsiteX44" fmla="*/ 545471 w 608556"/>
              <a:gd name="connsiteY44" fmla="*/ 278076 h 607614"/>
              <a:gd name="connsiteX45" fmla="*/ 533035 w 608556"/>
              <a:gd name="connsiteY45" fmla="*/ 290588 h 607614"/>
              <a:gd name="connsiteX46" fmla="*/ 75310 w 608556"/>
              <a:gd name="connsiteY46" fmla="*/ 290588 h 607614"/>
              <a:gd name="connsiteX47" fmla="*/ 62874 w 608556"/>
              <a:gd name="connsiteY47" fmla="*/ 278076 h 607614"/>
              <a:gd name="connsiteX48" fmla="*/ 62874 w 608556"/>
              <a:gd name="connsiteY48" fmla="*/ 12419 h 607614"/>
              <a:gd name="connsiteX49" fmla="*/ 75310 w 608556"/>
              <a:gd name="connsiteY49" fmla="*/ 0 h 607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08556" h="607614">
                <a:moveTo>
                  <a:pt x="12438" y="316909"/>
                </a:moveTo>
                <a:lnTo>
                  <a:pt x="596024" y="316909"/>
                </a:lnTo>
                <a:cubicBezTo>
                  <a:pt x="602945" y="316909"/>
                  <a:pt x="608556" y="322513"/>
                  <a:pt x="608556" y="329424"/>
                </a:cubicBezTo>
                <a:cubicBezTo>
                  <a:pt x="608556" y="336242"/>
                  <a:pt x="602945" y="341846"/>
                  <a:pt x="596024" y="341846"/>
                </a:cubicBezTo>
                <a:lnTo>
                  <a:pt x="316764" y="341846"/>
                </a:lnTo>
                <a:lnTo>
                  <a:pt x="316764" y="500244"/>
                </a:lnTo>
                <a:lnTo>
                  <a:pt x="414495" y="585795"/>
                </a:lnTo>
                <a:cubicBezTo>
                  <a:pt x="419639" y="590278"/>
                  <a:pt x="420107" y="598123"/>
                  <a:pt x="415618" y="603353"/>
                </a:cubicBezTo>
                <a:cubicBezTo>
                  <a:pt x="413280" y="606061"/>
                  <a:pt x="409726" y="607556"/>
                  <a:pt x="406265" y="607556"/>
                </a:cubicBezTo>
                <a:cubicBezTo>
                  <a:pt x="403273" y="607556"/>
                  <a:pt x="400373" y="606622"/>
                  <a:pt x="398035" y="604474"/>
                </a:cubicBezTo>
                <a:lnTo>
                  <a:pt x="316764" y="533400"/>
                </a:lnTo>
                <a:lnTo>
                  <a:pt x="316764" y="594107"/>
                </a:lnTo>
                <a:cubicBezTo>
                  <a:pt x="316764" y="601018"/>
                  <a:pt x="311152" y="606622"/>
                  <a:pt x="304231" y="606622"/>
                </a:cubicBezTo>
                <a:cubicBezTo>
                  <a:pt x="297404" y="606622"/>
                  <a:pt x="291793" y="601018"/>
                  <a:pt x="291793" y="594107"/>
                </a:cubicBezTo>
                <a:lnTo>
                  <a:pt x="291793" y="533400"/>
                </a:lnTo>
                <a:lnTo>
                  <a:pt x="210521" y="604474"/>
                </a:lnTo>
                <a:cubicBezTo>
                  <a:pt x="205377" y="609050"/>
                  <a:pt x="197427" y="608583"/>
                  <a:pt x="192938" y="603353"/>
                </a:cubicBezTo>
                <a:cubicBezTo>
                  <a:pt x="188262" y="598216"/>
                  <a:pt x="188823" y="590278"/>
                  <a:pt x="194061" y="585795"/>
                </a:cubicBezTo>
                <a:lnTo>
                  <a:pt x="291793" y="500244"/>
                </a:lnTo>
                <a:lnTo>
                  <a:pt x="291793" y="341846"/>
                </a:lnTo>
                <a:lnTo>
                  <a:pt x="12438" y="341846"/>
                </a:lnTo>
                <a:cubicBezTo>
                  <a:pt x="5611" y="341846"/>
                  <a:pt x="0" y="336242"/>
                  <a:pt x="0" y="329424"/>
                </a:cubicBezTo>
                <a:cubicBezTo>
                  <a:pt x="0" y="322513"/>
                  <a:pt x="5611" y="316909"/>
                  <a:pt x="12438" y="316909"/>
                </a:cubicBezTo>
                <a:close/>
                <a:moveTo>
                  <a:pt x="278583" y="124789"/>
                </a:moveTo>
                <a:lnTo>
                  <a:pt x="278583" y="169701"/>
                </a:lnTo>
                <a:lnTo>
                  <a:pt x="317489" y="150466"/>
                </a:lnTo>
                <a:close/>
                <a:moveTo>
                  <a:pt x="260252" y="90708"/>
                </a:moveTo>
                <a:cubicBezTo>
                  <a:pt x="264180" y="88560"/>
                  <a:pt x="269231" y="88653"/>
                  <a:pt x="272972" y="91268"/>
                </a:cubicBezTo>
                <a:lnTo>
                  <a:pt x="349287" y="141596"/>
                </a:lnTo>
                <a:cubicBezTo>
                  <a:pt x="353028" y="144117"/>
                  <a:pt x="355085" y="148319"/>
                  <a:pt x="354898" y="152801"/>
                </a:cubicBezTo>
                <a:cubicBezTo>
                  <a:pt x="354618" y="157283"/>
                  <a:pt x="351999" y="161111"/>
                  <a:pt x="347977" y="163165"/>
                </a:cubicBezTo>
                <a:lnTo>
                  <a:pt x="271662" y="201075"/>
                </a:lnTo>
                <a:cubicBezTo>
                  <a:pt x="269979" y="202009"/>
                  <a:pt x="267921" y="202382"/>
                  <a:pt x="266051" y="202382"/>
                </a:cubicBezTo>
                <a:cubicBezTo>
                  <a:pt x="263806" y="202382"/>
                  <a:pt x="261468" y="201728"/>
                  <a:pt x="259504" y="200515"/>
                </a:cubicBezTo>
                <a:cubicBezTo>
                  <a:pt x="255857" y="198274"/>
                  <a:pt x="253612" y="194259"/>
                  <a:pt x="253612" y="189870"/>
                </a:cubicBezTo>
                <a:lnTo>
                  <a:pt x="253612" y="101632"/>
                </a:lnTo>
                <a:cubicBezTo>
                  <a:pt x="253612" y="97057"/>
                  <a:pt x="256137" y="92762"/>
                  <a:pt x="260252" y="90708"/>
                </a:cubicBezTo>
                <a:close/>
                <a:moveTo>
                  <a:pt x="87934" y="24932"/>
                </a:moveTo>
                <a:lnTo>
                  <a:pt x="87934" y="265656"/>
                </a:lnTo>
                <a:lnTo>
                  <a:pt x="520692" y="265656"/>
                </a:lnTo>
                <a:lnTo>
                  <a:pt x="520692" y="24932"/>
                </a:lnTo>
                <a:close/>
                <a:moveTo>
                  <a:pt x="75310" y="0"/>
                </a:moveTo>
                <a:lnTo>
                  <a:pt x="533035" y="0"/>
                </a:lnTo>
                <a:cubicBezTo>
                  <a:pt x="539861" y="0"/>
                  <a:pt x="545471" y="5603"/>
                  <a:pt x="545471" y="12419"/>
                </a:cubicBezTo>
                <a:lnTo>
                  <a:pt x="545471" y="278076"/>
                </a:lnTo>
                <a:cubicBezTo>
                  <a:pt x="545471" y="284985"/>
                  <a:pt x="540048" y="290588"/>
                  <a:pt x="533035" y="290588"/>
                </a:cubicBezTo>
                <a:lnTo>
                  <a:pt x="75310" y="290588"/>
                </a:lnTo>
                <a:cubicBezTo>
                  <a:pt x="68484" y="290588"/>
                  <a:pt x="62874" y="284985"/>
                  <a:pt x="62874" y="278076"/>
                </a:cubicBezTo>
                <a:lnTo>
                  <a:pt x="62874" y="12419"/>
                </a:lnTo>
                <a:cubicBezTo>
                  <a:pt x="62874" y="5603"/>
                  <a:pt x="68484" y="0"/>
                  <a:pt x="7531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0" tIns="0" rIns="0" bIns="0" anchor="ctr"/>
          <a:lstStyle/>
          <a:p>
            <a:pPr algn="ctr"/>
          </a:p>
        </p:txBody>
      </p:sp>
      <p:cxnSp>
        <p:nvCxnSpPr>
          <p:cNvPr id="23" name="直接连接符 22"/>
          <p:cNvCxnSpPr/>
          <p:nvPr/>
        </p:nvCxnSpPr>
        <p:spPr>
          <a:xfrm>
            <a:off x="933856" y="3598259"/>
            <a:ext cx="5654615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3823308" y="2178990"/>
            <a:ext cx="0" cy="314979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ïSlîḑè"/>
          <p:cNvSpPr/>
          <p:nvPr/>
        </p:nvSpPr>
        <p:spPr bwMode="auto">
          <a:xfrm>
            <a:off x="7354431" y="2019947"/>
            <a:ext cx="3267264" cy="3787402"/>
          </a:xfrm>
          <a:custGeom>
            <a:avLst/>
            <a:gdLst>
              <a:gd name="T0" fmla="*/ 0 w 1294"/>
              <a:gd name="T1" fmla="*/ 0 h 1500"/>
              <a:gd name="T2" fmla="*/ 1294 w 1294"/>
              <a:gd name="T3" fmla="*/ 750 h 1500"/>
              <a:gd name="T4" fmla="*/ 0 w 1294"/>
              <a:gd name="T5" fmla="*/ 1500 h 1500"/>
              <a:gd name="T6" fmla="*/ 0 w 1294"/>
              <a:gd name="T7" fmla="*/ 0 h 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94" h="1500">
                <a:moveTo>
                  <a:pt x="0" y="0"/>
                </a:moveTo>
                <a:lnTo>
                  <a:pt x="1294" y="750"/>
                </a:lnTo>
                <a:lnTo>
                  <a:pt x="0" y="1500"/>
                </a:lnTo>
                <a:lnTo>
                  <a:pt x="0" y="0"/>
                </a:lnTo>
                <a:close/>
              </a:path>
            </a:pathLst>
          </a:custGeom>
          <a:blipFill>
            <a:blip r:embed="rId1"/>
            <a:tile tx="0" ty="0" sx="100000" sy="100000" flip="none" algn="ctr"/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</a:p>
        </p:txBody>
      </p:sp>
      <p:sp>
        <p:nvSpPr>
          <p:cNvPr id="30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j-cs"/>
              </a:rPr>
              <a:t>02/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j-cs"/>
              </a:rPr>
              <a:t>工作完成情况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0">
        <p14:conveyor dir="l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45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500"/>
                            </p:stCondLst>
                            <p:childTnLst>
                              <p:par>
                                <p:cTn id="4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45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000"/>
                            </p:stCondLst>
                            <p:childTnLst>
                              <p:par>
                                <p:cTn id="5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5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45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45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500"/>
                            </p:stCondLst>
                            <p:childTnLst>
                              <p:par>
                                <p:cTn id="7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45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45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500"/>
                            </p:stCondLst>
                            <p:childTnLst>
                              <p:par>
                                <p:cTn id="8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45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7000"/>
                            </p:stCondLst>
                            <p:childTnLst>
                              <p:par>
                                <p:cTn id="94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45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500"/>
                            </p:stCondLst>
                            <p:childTnLst>
                              <p:par>
                                <p:cTn id="101" presetID="37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45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8000"/>
                            </p:stCondLst>
                            <p:childTnLst>
                              <p:par>
                                <p:cTn id="10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45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8500"/>
                            </p:stCondLst>
                            <p:childTnLst>
                              <p:par>
                                <p:cTn id="11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450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/>
      <p:bldP spid="12" grpId="0"/>
      <p:bldP spid="13" grpId="0" animBg="1"/>
      <p:bldP spid="14" grpId="0"/>
      <p:bldP spid="15" grpId="0"/>
      <p:bldP spid="16" grpId="0" animBg="1"/>
      <p:bldP spid="17" grpId="0"/>
      <p:bldP spid="18" grpId="0"/>
      <p:bldP spid="19" grpId="0" animBg="1"/>
      <p:bldP spid="20" grpId="0"/>
      <p:bldP spid="21" grpId="0"/>
      <p:bldP spid="22" grpId="0" animBg="1"/>
      <p:bldP spid="25" grpId="0" animBg="1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标题 1"/>
          <p:cNvSpPr txBox="1"/>
          <p:nvPr/>
        </p:nvSpPr>
        <p:spPr>
          <a:xfrm>
            <a:off x="668337" y="257607"/>
            <a:ext cx="10850563" cy="77109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数据集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j-cs"/>
            </a:endParaRPr>
          </a:p>
        </p:txBody>
      </p:sp>
      <p:cxnSp>
        <p:nvCxnSpPr>
          <p:cNvPr id="56" name="ExtraShape31"/>
          <p:cNvCxnSpPr/>
          <p:nvPr/>
        </p:nvCxnSpPr>
        <p:spPr>
          <a:xfrm>
            <a:off x="993750" y="4904817"/>
            <a:ext cx="2139057" cy="0"/>
          </a:xfrm>
          <a:prstGeom prst="line">
            <a:avLst/>
          </a:prstGeom>
          <a:ln>
            <a:solidFill>
              <a:srgbClr val="3A455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ustomText1"/>
          <p:cNvSpPr/>
          <p:nvPr/>
        </p:nvSpPr>
        <p:spPr>
          <a:xfrm>
            <a:off x="993751" y="4963229"/>
            <a:ext cx="2139063" cy="327992"/>
          </a:xfrm>
          <a:prstGeom prst="rect">
            <a:avLst/>
          </a:prstGeom>
          <a:noFill/>
        </p:spPr>
        <p:txBody>
          <a:bodyPr wrap="none" lIns="90000" tIns="46800" rIns="90000" bIns="4680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A4554"/>
                </a:solidFill>
                <a:effectLst/>
                <a:uLnTx/>
                <a:uFillTx/>
              </a:rPr>
              <a:t>Supporting text here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3A4554"/>
              </a:solidFill>
              <a:effectLst/>
              <a:uLnTx/>
              <a:uFillTx/>
            </a:endParaRPr>
          </a:p>
        </p:txBody>
      </p:sp>
      <p:sp>
        <p:nvSpPr>
          <p:cNvPr id="58" name="CustomText2"/>
          <p:cNvSpPr/>
          <p:nvPr/>
        </p:nvSpPr>
        <p:spPr>
          <a:xfrm>
            <a:off x="993750" y="4450251"/>
            <a:ext cx="2139066" cy="454566"/>
          </a:xfrm>
          <a:prstGeom prst="rect">
            <a:avLst/>
          </a:prstGeom>
          <a:noFill/>
        </p:spPr>
        <p:txBody>
          <a:bodyPr wrap="none" lIns="90000" tIns="46800" rIns="90000" bIns="4680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A4554"/>
                </a:solidFill>
                <a:effectLst/>
                <a:uLnTx/>
                <a:uFillTx/>
              </a:rPr>
              <a:t>添加标题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3A4554"/>
              </a:solidFill>
              <a:effectLst/>
              <a:uLnTx/>
              <a:uFillTx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993750" y="1887621"/>
            <a:ext cx="2252647" cy="2407854"/>
            <a:chOff x="993750" y="1887621"/>
            <a:chExt cx="2252647" cy="2407854"/>
          </a:xfrm>
        </p:grpSpPr>
        <p:sp>
          <p:nvSpPr>
            <p:cNvPr id="59" name="ExtraShape1"/>
            <p:cNvSpPr/>
            <p:nvPr/>
          </p:nvSpPr>
          <p:spPr bwMode="auto">
            <a:xfrm>
              <a:off x="1779711" y="2466239"/>
              <a:ext cx="1420909" cy="1532603"/>
            </a:xfrm>
            <a:custGeom>
              <a:avLst/>
              <a:gdLst>
                <a:gd name="T0" fmla="*/ 272 w 372"/>
                <a:gd name="T1" fmla="*/ 402 h 402"/>
                <a:gd name="T2" fmla="*/ 266 w 372"/>
                <a:gd name="T3" fmla="*/ 401 h 402"/>
                <a:gd name="T4" fmla="*/ 251 w 372"/>
                <a:gd name="T5" fmla="*/ 390 h 402"/>
                <a:gd name="T6" fmla="*/ 167 w 372"/>
                <a:gd name="T7" fmla="*/ 242 h 402"/>
                <a:gd name="T8" fmla="*/ 25 w 372"/>
                <a:gd name="T9" fmla="*/ 242 h 402"/>
                <a:gd name="T10" fmla="*/ 0 w 372"/>
                <a:gd name="T11" fmla="*/ 218 h 402"/>
                <a:gd name="T12" fmla="*/ 0 w 372"/>
                <a:gd name="T13" fmla="*/ 25 h 402"/>
                <a:gd name="T14" fmla="*/ 25 w 372"/>
                <a:gd name="T15" fmla="*/ 0 h 402"/>
                <a:gd name="T16" fmla="*/ 49 w 372"/>
                <a:gd name="T17" fmla="*/ 25 h 402"/>
                <a:gd name="T18" fmla="*/ 49 w 372"/>
                <a:gd name="T19" fmla="*/ 193 h 402"/>
                <a:gd name="T20" fmla="*/ 181 w 372"/>
                <a:gd name="T21" fmla="*/ 193 h 402"/>
                <a:gd name="T22" fmla="*/ 202 w 372"/>
                <a:gd name="T23" fmla="*/ 205 h 402"/>
                <a:gd name="T24" fmla="*/ 280 w 372"/>
                <a:gd name="T25" fmla="*/ 343 h 402"/>
                <a:gd name="T26" fmla="*/ 332 w 372"/>
                <a:gd name="T27" fmla="*/ 310 h 402"/>
                <a:gd name="T28" fmla="*/ 365 w 372"/>
                <a:gd name="T29" fmla="*/ 317 h 402"/>
                <a:gd name="T30" fmla="*/ 358 w 372"/>
                <a:gd name="T31" fmla="*/ 351 h 402"/>
                <a:gd name="T32" fmla="*/ 285 w 372"/>
                <a:gd name="T33" fmla="*/ 398 h 402"/>
                <a:gd name="T34" fmla="*/ 272 w 372"/>
                <a:gd name="T35" fmla="*/ 40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2" h="402">
                  <a:moveTo>
                    <a:pt x="272" y="402"/>
                  </a:moveTo>
                  <a:cubicBezTo>
                    <a:pt x="270" y="402"/>
                    <a:pt x="268" y="402"/>
                    <a:pt x="266" y="401"/>
                  </a:cubicBezTo>
                  <a:cubicBezTo>
                    <a:pt x="260" y="400"/>
                    <a:pt x="254" y="395"/>
                    <a:pt x="251" y="390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11" y="242"/>
                    <a:pt x="0" y="231"/>
                    <a:pt x="0" y="2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181" y="193"/>
                    <a:pt x="181" y="193"/>
                    <a:pt x="181" y="193"/>
                  </a:cubicBezTo>
                  <a:cubicBezTo>
                    <a:pt x="190" y="193"/>
                    <a:pt x="198" y="198"/>
                    <a:pt x="202" y="205"/>
                  </a:cubicBezTo>
                  <a:cubicBezTo>
                    <a:pt x="280" y="343"/>
                    <a:pt x="280" y="343"/>
                    <a:pt x="280" y="343"/>
                  </a:cubicBezTo>
                  <a:cubicBezTo>
                    <a:pt x="332" y="310"/>
                    <a:pt x="332" y="310"/>
                    <a:pt x="332" y="310"/>
                  </a:cubicBezTo>
                  <a:cubicBezTo>
                    <a:pt x="343" y="303"/>
                    <a:pt x="358" y="306"/>
                    <a:pt x="365" y="317"/>
                  </a:cubicBezTo>
                  <a:cubicBezTo>
                    <a:pt x="372" y="328"/>
                    <a:pt x="369" y="343"/>
                    <a:pt x="358" y="351"/>
                  </a:cubicBezTo>
                  <a:cubicBezTo>
                    <a:pt x="285" y="398"/>
                    <a:pt x="285" y="398"/>
                    <a:pt x="285" y="398"/>
                  </a:cubicBezTo>
                  <a:cubicBezTo>
                    <a:pt x="281" y="401"/>
                    <a:pt x="277" y="402"/>
                    <a:pt x="272" y="40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ExtraShape2"/>
            <p:cNvSpPr/>
            <p:nvPr/>
          </p:nvSpPr>
          <p:spPr bwMode="auto">
            <a:xfrm>
              <a:off x="1635056" y="1887621"/>
              <a:ext cx="476078" cy="47607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ExtraShape3"/>
            <p:cNvSpPr/>
            <p:nvPr/>
          </p:nvSpPr>
          <p:spPr bwMode="auto">
            <a:xfrm>
              <a:off x="1768725" y="2565116"/>
              <a:ext cx="763556" cy="823981"/>
            </a:xfrm>
            <a:custGeom>
              <a:avLst/>
              <a:gdLst>
                <a:gd name="T0" fmla="*/ 172 w 200"/>
                <a:gd name="T1" fmla="*/ 216 h 216"/>
                <a:gd name="T2" fmla="*/ 160 w 200"/>
                <a:gd name="T3" fmla="*/ 213 h 216"/>
                <a:gd name="T4" fmla="*/ 63 w 200"/>
                <a:gd name="T5" fmla="*/ 157 h 216"/>
                <a:gd name="T6" fmla="*/ 53 w 200"/>
                <a:gd name="T7" fmla="*/ 146 h 216"/>
                <a:gd name="T8" fmla="*/ 5 w 200"/>
                <a:gd name="T9" fmla="*/ 38 h 216"/>
                <a:gd name="T10" fmla="*/ 18 w 200"/>
                <a:gd name="T11" fmla="*/ 6 h 216"/>
                <a:gd name="T12" fmla="*/ 50 w 200"/>
                <a:gd name="T13" fmla="*/ 18 h 216"/>
                <a:gd name="T14" fmla="*/ 94 w 200"/>
                <a:gd name="T15" fmla="*/ 119 h 216"/>
                <a:gd name="T16" fmla="*/ 184 w 200"/>
                <a:gd name="T17" fmla="*/ 170 h 216"/>
                <a:gd name="T18" fmla="*/ 193 w 200"/>
                <a:gd name="T19" fmla="*/ 204 h 216"/>
                <a:gd name="T20" fmla="*/ 172 w 200"/>
                <a:gd name="T21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0" h="216">
                  <a:moveTo>
                    <a:pt x="172" y="216"/>
                  </a:moveTo>
                  <a:cubicBezTo>
                    <a:pt x="168" y="216"/>
                    <a:pt x="164" y="215"/>
                    <a:pt x="160" y="213"/>
                  </a:cubicBezTo>
                  <a:cubicBezTo>
                    <a:pt x="63" y="157"/>
                    <a:pt x="63" y="157"/>
                    <a:pt x="63" y="157"/>
                  </a:cubicBezTo>
                  <a:cubicBezTo>
                    <a:pt x="58" y="154"/>
                    <a:pt x="55" y="150"/>
                    <a:pt x="53" y="146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0" y="25"/>
                    <a:pt x="5" y="11"/>
                    <a:pt x="18" y="6"/>
                  </a:cubicBezTo>
                  <a:cubicBezTo>
                    <a:pt x="30" y="0"/>
                    <a:pt x="44" y="6"/>
                    <a:pt x="50" y="18"/>
                  </a:cubicBezTo>
                  <a:cubicBezTo>
                    <a:pt x="94" y="119"/>
                    <a:pt x="94" y="119"/>
                    <a:pt x="94" y="119"/>
                  </a:cubicBezTo>
                  <a:cubicBezTo>
                    <a:pt x="184" y="170"/>
                    <a:pt x="184" y="170"/>
                    <a:pt x="184" y="170"/>
                  </a:cubicBezTo>
                  <a:cubicBezTo>
                    <a:pt x="196" y="177"/>
                    <a:pt x="200" y="192"/>
                    <a:pt x="193" y="204"/>
                  </a:cubicBezTo>
                  <a:cubicBezTo>
                    <a:pt x="189" y="211"/>
                    <a:pt x="181" y="216"/>
                    <a:pt x="172" y="2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ExtraShape4"/>
            <p:cNvSpPr/>
            <p:nvPr/>
          </p:nvSpPr>
          <p:spPr bwMode="auto">
            <a:xfrm>
              <a:off x="2947932" y="3998842"/>
              <a:ext cx="298465" cy="296633"/>
            </a:xfrm>
            <a:custGeom>
              <a:avLst/>
              <a:gdLst>
                <a:gd name="T0" fmla="*/ 39 w 78"/>
                <a:gd name="T1" fmla="*/ 78 h 78"/>
                <a:gd name="T2" fmla="*/ 0 w 78"/>
                <a:gd name="T3" fmla="*/ 39 h 78"/>
                <a:gd name="T4" fmla="*/ 39 w 78"/>
                <a:gd name="T5" fmla="*/ 0 h 78"/>
                <a:gd name="T6" fmla="*/ 78 w 78"/>
                <a:gd name="T7" fmla="*/ 39 h 78"/>
                <a:gd name="T8" fmla="*/ 39 w 78"/>
                <a:gd name="T9" fmla="*/ 78 h 78"/>
                <a:gd name="T10" fmla="*/ 39 w 78"/>
                <a:gd name="T11" fmla="*/ 17 h 78"/>
                <a:gd name="T12" fmla="*/ 16 w 78"/>
                <a:gd name="T13" fmla="*/ 39 h 78"/>
                <a:gd name="T14" fmla="*/ 39 w 78"/>
                <a:gd name="T15" fmla="*/ 62 h 78"/>
                <a:gd name="T16" fmla="*/ 62 w 78"/>
                <a:gd name="T17" fmla="*/ 39 h 78"/>
                <a:gd name="T18" fmla="*/ 39 w 78"/>
                <a:gd name="T19" fmla="*/ 1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60" y="0"/>
                    <a:pt x="78" y="18"/>
                    <a:pt x="78" y="39"/>
                  </a:cubicBezTo>
                  <a:cubicBezTo>
                    <a:pt x="78" y="61"/>
                    <a:pt x="60" y="78"/>
                    <a:pt x="39" y="78"/>
                  </a:cubicBezTo>
                  <a:close/>
                  <a:moveTo>
                    <a:pt x="39" y="17"/>
                  </a:moveTo>
                  <a:cubicBezTo>
                    <a:pt x="26" y="17"/>
                    <a:pt x="16" y="27"/>
                    <a:pt x="16" y="39"/>
                  </a:cubicBezTo>
                  <a:cubicBezTo>
                    <a:pt x="16" y="52"/>
                    <a:pt x="26" y="62"/>
                    <a:pt x="39" y="62"/>
                  </a:cubicBezTo>
                  <a:cubicBezTo>
                    <a:pt x="51" y="62"/>
                    <a:pt x="62" y="52"/>
                    <a:pt x="62" y="39"/>
                  </a:cubicBezTo>
                  <a:cubicBezTo>
                    <a:pt x="62" y="27"/>
                    <a:pt x="51" y="17"/>
                    <a:pt x="39" y="1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ExtraShape5"/>
            <p:cNvSpPr/>
            <p:nvPr/>
          </p:nvSpPr>
          <p:spPr>
            <a:xfrm>
              <a:off x="993750" y="2666791"/>
              <a:ext cx="1480368" cy="1480368"/>
            </a:xfrm>
            <a:prstGeom prst="arc">
              <a:avLst>
                <a:gd name="adj1" fmla="val 1443365"/>
                <a:gd name="adj2" fmla="val 15203203"/>
              </a:avLst>
            </a:prstGeom>
            <a:ln w="57150" cap="rnd">
              <a:solidFill>
                <a:schemeClr val="accent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6" name="IconShape1"/>
          <p:cNvSpPr/>
          <p:nvPr/>
        </p:nvSpPr>
        <p:spPr bwMode="auto">
          <a:xfrm>
            <a:off x="3878136" y="1909913"/>
            <a:ext cx="615120" cy="616327"/>
          </a:xfrm>
          <a:custGeom>
            <a:avLst/>
            <a:gdLst>
              <a:gd name="connsiteX0" fmla="*/ 210708 w 599594"/>
              <a:gd name="connsiteY0" fmla="*/ 252881 h 600769"/>
              <a:gd name="connsiteX1" fmla="*/ 348734 w 599594"/>
              <a:gd name="connsiteY1" fmla="*/ 390554 h 600769"/>
              <a:gd name="connsiteX2" fmla="*/ 210708 w 599594"/>
              <a:gd name="connsiteY2" fmla="*/ 528227 h 600769"/>
              <a:gd name="connsiteX3" fmla="*/ 72682 w 599594"/>
              <a:gd name="connsiteY3" fmla="*/ 390554 h 600769"/>
              <a:gd name="connsiteX4" fmla="*/ 210708 w 599594"/>
              <a:gd name="connsiteY4" fmla="*/ 252881 h 600769"/>
              <a:gd name="connsiteX5" fmla="*/ 210809 w 599594"/>
              <a:gd name="connsiteY5" fmla="*/ 222618 h 600769"/>
              <a:gd name="connsiteX6" fmla="*/ 42569 w 599594"/>
              <a:gd name="connsiteY6" fmla="*/ 390559 h 600769"/>
              <a:gd name="connsiteX7" fmla="*/ 210809 w 599594"/>
              <a:gd name="connsiteY7" fmla="*/ 558275 h 600769"/>
              <a:gd name="connsiteX8" fmla="*/ 378822 w 599594"/>
              <a:gd name="connsiteY8" fmla="*/ 390559 h 600769"/>
              <a:gd name="connsiteX9" fmla="*/ 210809 w 599594"/>
              <a:gd name="connsiteY9" fmla="*/ 222618 h 600769"/>
              <a:gd name="connsiteX10" fmla="*/ 89215 w 599594"/>
              <a:gd name="connsiteY10" fmla="*/ 171761 h 600769"/>
              <a:gd name="connsiteX11" fmla="*/ 96007 w 599594"/>
              <a:gd name="connsiteY11" fmla="*/ 214255 h 600769"/>
              <a:gd name="connsiteX12" fmla="*/ 210809 w 599594"/>
              <a:gd name="connsiteY12" fmla="*/ 180124 h 600769"/>
              <a:gd name="connsiteX13" fmla="*/ 339649 w 599594"/>
              <a:gd name="connsiteY13" fmla="*/ 224200 h 600769"/>
              <a:gd name="connsiteX14" fmla="*/ 339649 w 599594"/>
              <a:gd name="connsiteY14" fmla="*/ 171761 h 600769"/>
              <a:gd name="connsiteX15" fmla="*/ 226886 w 599594"/>
              <a:gd name="connsiteY15" fmla="*/ 171761 h 600769"/>
              <a:gd name="connsiteX16" fmla="*/ 45966 w 599594"/>
              <a:gd name="connsiteY16" fmla="*/ 202 h 600769"/>
              <a:gd name="connsiteX17" fmla="*/ 63401 w 599594"/>
              <a:gd name="connsiteY17" fmla="*/ 12634 h 600769"/>
              <a:gd name="connsiteX18" fmla="*/ 84233 w 599594"/>
              <a:gd name="connsiteY18" fmla="*/ 141472 h 600769"/>
              <a:gd name="connsiteX19" fmla="*/ 226886 w 599594"/>
              <a:gd name="connsiteY19" fmla="*/ 141472 h 600769"/>
              <a:gd name="connsiteX20" fmla="*/ 354594 w 599594"/>
              <a:gd name="connsiteY20" fmla="*/ 141472 h 600769"/>
              <a:gd name="connsiteX21" fmla="*/ 378369 w 599594"/>
              <a:gd name="connsiteY21" fmla="*/ 141472 h 600769"/>
              <a:gd name="connsiteX22" fmla="*/ 393314 w 599594"/>
              <a:gd name="connsiteY22" fmla="*/ 156616 h 600769"/>
              <a:gd name="connsiteX23" fmla="*/ 378369 w 599594"/>
              <a:gd name="connsiteY23" fmla="*/ 171761 h 600769"/>
              <a:gd name="connsiteX24" fmla="*/ 369765 w 599594"/>
              <a:gd name="connsiteY24" fmla="*/ 171761 h 600769"/>
              <a:gd name="connsiteX25" fmla="*/ 369765 w 599594"/>
              <a:gd name="connsiteY25" fmla="*/ 252680 h 600769"/>
              <a:gd name="connsiteX26" fmla="*/ 413466 w 599594"/>
              <a:gd name="connsiteY26" fmla="*/ 332921 h 600769"/>
              <a:gd name="connsiteX27" fmla="*/ 460791 w 599594"/>
              <a:gd name="connsiteY27" fmla="*/ 378128 h 600769"/>
              <a:gd name="connsiteX28" fmla="*/ 478905 w 599594"/>
              <a:gd name="connsiteY28" fmla="*/ 490692 h 600769"/>
              <a:gd name="connsiteX29" fmla="*/ 499964 w 599594"/>
              <a:gd name="connsiteY29" fmla="*/ 486623 h 600769"/>
              <a:gd name="connsiteX30" fmla="*/ 552043 w 599594"/>
              <a:gd name="connsiteY30" fmla="*/ 520076 h 600769"/>
              <a:gd name="connsiteX31" fmla="*/ 584649 w 599594"/>
              <a:gd name="connsiteY31" fmla="*/ 520076 h 600769"/>
              <a:gd name="connsiteX32" fmla="*/ 599594 w 599594"/>
              <a:gd name="connsiteY32" fmla="*/ 535220 h 600769"/>
              <a:gd name="connsiteX33" fmla="*/ 584649 w 599594"/>
              <a:gd name="connsiteY33" fmla="*/ 550138 h 600769"/>
              <a:gd name="connsiteX34" fmla="*/ 556798 w 599594"/>
              <a:gd name="connsiteY34" fmla="*/ 550138 h 600769"/>
              <a:gd name="connsiteX35" fmla="*/ 499964 w 599594"/>
              <a:gd name="connsiteY35" fmla="*/ 600769 h 600769"/>
              <a:gd name="connsiteX36" fmla="*/ 442676 w 599594"/>
              <a:gd name="connsiteY36" fmla="*/ 543809 h 600769"/>
              <a:gd name="connsiteX37" fmla="*/ 451733 w 599594"/>
              <a:gd name="connsiteY37" fmla="*/ 512843 h 600769"/>
              <a:gd name="connsiteX38" fmla="*/ 430902 w 599594"/>
              <a:gd name="connsiteY38" fmla="*/ 382874 h 600769"/>
              <a:gd name="connsiteX39" fmla="*/ 420033 w 599594"/>
              <a:gd name="connsiteY39" fmla="*/ 366148 h 600769"/>
              <a:gd name="connsiteX40" fmla="*/ 421391 w 599594"/>
              <a:gd name="connsiteY40" fmla="*/ 390559 h 600769"/>
              <a:gd name="connsiteX41" fmla="*/ 210809 w 599594"/>
              <a:gd name="connsiteY41" fmla="*/ 600769 h 600769"/>
              <a:gd name="connsiteX42" fmla="*/ 0 w 599594"/>
              <a:gd name="connsiteY42" fmla="*/ 390559 h 600769"/>
              <a:gd name="connsiteX43" fmla="*/ 68836 w 599594"/>
              <a:gd name="connsiteY43" fmla="*/ 235049 h 600769"/>
              <a:gd name="connsiteX44" fmla="*/ 33512 w 599594"/>
              <a:gd name="connsiteY44" fmla="*/ 17381 h 600769"/>
              <a:gd name="connsiteX45" fmla="*/ 45966 w 599594"/>
              <a:gd name="connsiteY45" fmla="*/ 202 h 600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9594" h="600769">
                <a:moveTo>
                  <a:pt x="210708" y="252881"/>
                </a:moveTo>
                <a:cubicBezTo>
                  <a:pt x="286938" y="252881"/>
                  <a:pt x="348734" y="314519"/>
                  <a:pt x="348734" y="390554"/>
                </a:cubicBezTo>
                <a:cubicBezTo>
                  <a:pt x="348734" y="466589"/>
                  <a:pt x="286938" y="528227"/>
                  <a:pt x="210708" y="528227"/>
                </a:cubicBezTo>
                <a:cubicBezTo>
                  <a:pt x="134478" y="528227"/>
                  <a:pt x="72682" y="466589"/>
                  <a:pt x="72682" y="390554"/>
                </a:cubicBezTo>
                <a:cubicBezTo>
                  <a:pt x="72682" y="314519"/>
                  <a:pt x="134478" y="252881"/>
                  <a:pt x="210708" y="252881"/>
                </a:cubicBezTo>
                <a:close/>
                <a:moveTo>
                  <a:pt x="210809" y="222618"/>
                </a:moveTo>
                <a:cubicBezTo>
                  <a:pt x="117971" y="222618"/>
                  <a:pt x="42569" y="297886"/>
                  <a:pt x="42569" y="390559"/>
                </a:cubicBezTo>
                <a:cubicBezTo>
                  <a:pt x="42569" y="483007"/>
                  <a:pt x="117971" y="558275"/>
                  <a:pt x="210809" y="558275"/>
                </a:cubicBezTo>
                <a:cubicBezTo>
                  <a:pt x="303420" y="558275"/>
                  <a:pt x="378822" y="483007"/>
                  <a:pt x="378822" y="390559"/>
                </a:cubicBezTo>
                <a:cubicBezTo>
                  <a:pt x="378822" y="297886"/>
                  <a:pt x="303420" y="222618"/>
                  <a:pt x="210809" y="222618"/>
                </a:cubicBezTo>
                <a:close/>
                <a:moveTo>
                  <a:pt x="89215" y="171761"/>
                </a:moveTo>
                <a:cubicBezTo>
                  <a:pt x="91705" y="186905"/>
                  <a:pt x="93970" y="201371"/>
                  <a:pt x="96007" y="214255"/>
                </a:cubicBezTo>
                <a:cubicBezTo>
                  <a:pt x="129067" y="192782"/>
                  <a:pt x="168466" y="180124"/>
                  <a:pt x="210809" y="180124"/>
                </a:cubicBezTo>
                <a:cubicBezTo>
                  <a:pt x="259266" y="180124"/>
                  <a:pt x="303873" y="196624"/>
                  <a:pt x="339649" y="224200"/>
                </a:cubicBezTo>
                <a:lnTo>
                  <a:pt x="339649" y="171761"/>
                </a:lnTo>
                <a:lnTo>
                  <a:pt x="226886" y="171761"/>
                </a:lnTo>
                <a:close/>
                <a:moveTo>
                  <a:pt x="45966" y="202"/>
                </a:moveTo>
                <a:cubicBezTo>
                  <a:pt x="54117" y="-1154"/>
                  <a:pt x="62043" y="4497"/>
                  <a:pt x="63401" y="12634"/>
                </a:cubicBezTo>
                <a:cubicBezTo>
                  <a:pt x="65213" y="24840"/>
                  <a:pt x="74949" y="83834"/>
                  <a:pt x="84233" y="141472"/>
                </a:cubicBezTo>
                <a:lnTo>
                  <a:pt x="226886" y="141472"/>
                </a:lnTo>
                <a:lnTo>
                  <a:pt x="354594" y="141472"/>
                </a:lnTo>
                <a:lnTo>
                  <a:pt x="378369" y="141472"/>
                </a:lnTo>
                <a:cubicBezTo>
                  <a:pt x="386521" y="141472"/>
                  <a:pt x="393314" y="148253"/>
                  <a:pt x="393314" y="156616"/>
                </a:cubicBezTo>
                <a:cubicBezTo>
                  <a:pt x="393314" y="164980"/>
                  <a:pt x="386521" y="171761"/>
                  <a:pt x="378369" y="171761"/>
                </a:cubicBezTo>
                <a:lnTo>
                  <a:pt x="369765" y="171761"/>
                </a:lnTo>
                <a:lnTo>
                  <a:pt x="369765" y="252680"/>
                </a:lnTo>
                <a:cubicBezTo>
                  <a:pt x="389691" y="275735"/>
                  <a:pt x="404862" y="302859"/>
                  <a:pt x="413466" y="332921"/>
                </a:cubicBezTo>
                <a:cubicBezTo>
                  <a:pt x="437468" y="335408"/>
                  <a:pt x="456941" y="353716"/>
                  <a:pt x="460791" y="378128"/>
                </a:cubicBezTo>
                <a:lnTo>
                  <a:pt x="478905" y="490692"/>
                </a:lnTo>
                <a:cubicBezTo>
                  <a:pt x="485472" y="487979"/>
                  <a:pt x="492491" y="486623"/>
                  <a:pt x="499964" y="486623"/>
                </a:cubicBezTo>
                <a:cubicBezTo>
                  <a:pt x="523060" y="486623"/>
                  <a:pt x="542986" y="500411"/>
                  <a:pt x="552043" y="520076"/>
                </a:cubicBezTo>
                <a:lnTo>
                  <a:pt x="584649" y="520076"/>
                </a:lnTo>
                <a:cubicBezTo>
                  <a:pt x="592801" y="520076"/>
                  <a:pt x="599594" y="526857"/>
                  <a:pt x="599594" y="535220"/>
                </a:cubicBezTo>
                <a:cubicBezTo>
                  <a:pt x="599594" y="543583"/>
                  <a:pt x="592801" y="550138"/>
                  <a:pt x="584649" y="550138"/>
                </a:cubicBezTo>
                <a:lnTo>
                  <a:pt x="556798" y="550138"/>
                </a:lnTo>
                <a:cubicBezTo>
                  <a:pt x="553628" y="578618"/>
                  <a:pt x="529173" y="600769"/>
                  <a:pt x="499964" y="600769"/>
                </a:cubicBezTo>
                <a:cubicBezTo>
                  <a:pt x="468263" y="600769"/>
                  <a:pt x="442676" y="575228"/>
                  <a:pt x="442676" y="543809"/>
                </a:cubicBezTo>
                <a:cubicBezTo>
                  <a:pt x="442676" y="532281"/>
                  <a:pt x="446073" y="521884"/>
                  <a:pt x="451733" y="512843"/>
                </a:cubicBezTo>
                <a:lnTo>
                  <a:pt x="430902" y="382874"/>
                </a:lnTo>
                <a:cubicBezTo>
                  <a:pt x="429769" y="375641"/>
                  <a:pt x="425694" y="369765"/>
                  <a:pt x="420033" y="366148"/>
                </a:cubicBezTo>
                <a:cubicBezTo>
                  <a:pt x="420939" y="374285"/>
                  <a:pt x="421391" y="382196"/>
                  <a:pt x="421391" y="390559"/>
                </a:cubicBezTo>
                <a:cubicBezTo>
                  <a:pt x="421391" y="506514"/>
                  <a:pt x="326969" y="600769"/>
                  <a:pt x="210809" y="600769"/>
                </a:cubicBezTo>
                <a:cubicBezTo>
                  <a:pt x="94649" y="600769"/>
                  <a:pt x="0" y="506514"/>
                  <a:pt x="0" y="390559"/>
                </a:cubicBezTo>
                <a:cubicBezTo>
                  <a:pt x="0" y="329079"/>
                  <a:pt x="26719" y="273475"/>
                  <a:pt x="68836" y="235049"/>
                </a:cubicBezTo>
                <a:cubicBezTo>
                  <a:pt x="60005" y="179220"/>
                  <a:pt x="41664" y="67786"/>
                  <a:pt x="33512" y="17381"/>
                </a:cubicBezTo>
                <a:cubicBezTo>
                  <a:pt x="32153" y="9244"/>
                  <a:pt x="37814" y="1559"/>
                  <a:pt x="45966" y="202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4636919" y="2025085"/>
            <a:ext cx="2526125" cy="385982"/>
            <a:chOff x="4636919" y="2025085"/>
            <a:chExt cx="2526125" cy="385982"/>
          </a:xfrm>
        </p:grpSpPr>
        <p:sp>
          <p:nvSpPr>
            <p:cNvPr id="64" name="BackShape"/>
            <p:cNvSpPr/>
            <p:nvPr/>
          </p:nvSpPr>
          <p:spPr>
            <a:xfrm>
              <a:off x="4636919" y="2025085"/>
              <a:ext cx="2526125" cy="38598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5715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121920" rIns="91440" bIns="1219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65" name="RelativeShape1"/>
            <p:cNvSpPr/>
            <p:nvPr/>
          </p:nvSpPr>
          <p:spPr>
            <a:xfrm>
              <a:off x="4713307" y="2087341"/>
              <a:ext cx="2381257" cy="261472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67" name="ValueShape1"/>
            <p:cNvSpPr/>
            <p:nvPr/>
          </p:nvSpPr>
          <p:spPr>
            <a:xfrm>
              <a:off x="4713307" y="2087341"/>
              <a:ext cx="1071566" cy="26147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</p:grpSp>
      <p:sp>
        <p:nvSpPr>
          <p:cNvPr id="68" name="ValueText1"/>
          <p:cNvSpPr txBox="1"/>
          <p:nvPr/>
        </p:nvSpPr>
        <p:spPr>
          <a:xfrm>
            <a:off x="7291219" y="2062438"/>
            <a:ext cx="666525" cy="311276"/>
          </a:xfrm>
          <a:prstGeom prst="rect">
            <a:avLst/>
          </a:prstGeom>
          <a:noFill/>
        </p:spPr>
        <p:txBody>
          <a:bodyPr wrap="square" numCol="1" rtlCol="0" anchor="ctr" anchorCtr="1">
            <a:prstTxWarp prst="textPlain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6000" b="0" i="0" u="none" strike="noStrike" kern="1200" cap="none" spc="0" normalizeH="0" baseline="0" noProof="0" dirty="0">
                <a:ln>
                  <a:noFill/>
                </a:ln>
                <a:solidFill>
                  <a:srgbClr val="768395"/>
                </a:solidFill>
                <a:effectLst/>
                <a:uLnTx/>
                <a:uFillTx/>
                <a:latin typeface="Impact" panose="020B0806030902050204" pitchFamily="34" charset="0"/>
              </a:rPr>
              <a:t>77%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68395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71" name="IconShape2"/>
          <p:cNvSpPr/>
          <p:nvPr/>
        </p:nvSpPr>
        <p:spPr bwMode="auto">
          <a:xfrm>
            <a:off x="3878074" y="2809944"/>
            <a:ext cx="615120" cy="616327"/>
          </a:xfrm>
          <a:custGeom>
            <a:avLst/>
            <a:gdLst>
              <a:gd name="connsiteX0" fmla="*/ 210708 w 599594"/>
              <a:gd name="connsiteY0" fmla="*/ 252881 h 600769"/>
              <a:gd name="connsiteX1" fmla="*/ 348734 w 599594"/>
              <a:gd name="connsiteY1" fmla="*/ 390554 h 600769"/>
              <a:gd name="connsiteX2" fmla="*/ 210708 w 599594"/>
              <a:gd name="connsiteY2" fmla="*/ 528227 h 600769"/>
              <a:gd name="connsiteX3" fmla="*/ 72682 w 599594"/>
              <a:gd name="connsiteY3" fmla="*/ 390554 h 600769"/>
              <a:gd name="connsiteX4" fmla="*/ 210708 w 599594"/>
              <a:gd name="connsiteY4" fmla="*/ 252881 h 600769"/>
              <a:gd name="connsiteX5" fmla="*/ 210809 w 599594"/>
              <a:gd name="connsiteY5" fmla="*/ 222618 h 600769"/>
              <a:gd name="connsiteX6" fmla="*/ 42569 w 599594"/>
              <a:gd name="connsiteY6" fmla="*/ 390559 h 600769"/>
              <a:gd name="connsiteX7" fmla="*/ 210809 w 599594"/>
              <a:gd name="connsiteY7" fmla="*/ 558275 h 600769"/>
              <a:gd name="connsiteX8" fmla="*/ 378822 w 599594"/>
              <a:gd name="connsiteY8" fmla="*/ 390559 h 600769"/>
              <a:gd name="connsiteX9" fmla="*/ 210809 w 599594"/>
              <a:gd name="connsiteY9" fmla="*/ 222618 h 600769"/>
              <a:gd name="connsiteX10" fmla="*/ 89215 w 599594"/>
              <a:gd name="connsiteY10" fmla="*/ 171761 h 600769"/>
              <a:gd name="connsiteX11" fmla="*/ 96007 w 599594"/>
              <a:gd name="connsiteY11" fmla="*/ 214255 h 600769"/>
              <a:gd name="connsiteX12" fmla="*/ 210809 w 599594"/>
              <a:gd name="connsiteY12" fmla="*/ 180124 h 600769"/>
              <a:gd name="connsiteX13" fmla="*/ 339649 w 599594"/>
              <a:gd name="connsiteY13" fmla="*/ 224200 h 600769"/>
              <a:gd name="connsiteX14" fmla="*/ 339649 w 599594"/>
              <a:gd name="connsiteY14" fmla="*/ 171761 h 600769"/>
              <a:gd name="connsiteX15" fmla="*/ 226886 w 599594"/>
              <a:gd name="connsiteY15" fmla="*/ 171761 h 600769"/>
              <a:gd name="connsiteX16" fmla="*/ 45966 w 599594"/>
              <a:gd name="connsiteY16" fmla="*/ 202 h 600769"/>
              <a:gd name="connsiteX17" fmla="*/ 63401 w 599594"/>
              <a:gd name="connsiteY17" fmla="*/ 12634 h 600769"/>
              <a:gd name="connsiteX18" fmla="*/ 84233 w 599594"/>
              <a:gd name="connsiteY18" fmla="*/ 141472 h 600769"/>
              <a:gd name="connsiteX19" fmla="*/ 226886 w 599594"/>
              <a:gd name="connsiteY19" fmla="*/ 141472 h 600769"/>
              <a:gd name="connsiteX20" fmla="*/ 354594 w 599594"/>
              <a:gd name="connsiteY20" fmla="*/ 141472 h 600769"/>
              <a:gd name="connsiteX21" fmla="*/ 378369 w 599594"/>
              <a:gd name="connsiteY21" fmla="*/ 141472 h 600769"/>
              <a:gd name="connsiteX22" fmla="*/ 393314 w 599594"/>
              <a:gd name="connsiteY22" fmla="*/ 156616 h 600769"/>
              <a:gd name="connsiteX23" fmla="*/ 378369 w 599594"/>
              <a:gd name="connsiteY23" fmla="*/ 171761 h 600769"/>
              <a:gd name="connsiteX24" fmla="*/ 369765 w 599594"/>
              <a:gd name="connsiteY24" fmla="*/ 171761 h 600769"/>
              <a:gd name="connsiteX25" fmla="*/ 369765 w 599594"/>
              <a:gd name="connsiteY25" fmla="*/ 252680 h 600769"/>
              <a:gd name="connsiteX26" fmla="*/ 413466 w 599594"/>
              <a:gd name="connsiteY26" fmla="*/ 332921 h 600769"/>
              <a:gd name="connsiteX27" fmla="*/ 460791 w 599594"/>
              <a:gd name="connsiteY27" fmla="*/ 378128 h 600769"/>
              <a:gd name="connsiteX28" fmla="*/ 478905 w 599594"/>
              <a:gd name="connsiteY28" fmla="*/ 490692 h 600769"/>
              <a:gd name="connsiteX29" fmla="*/ 499964 w 599594"/>
              <a:gd name="connsiteY29" fmla="*/ 486623 h 600769"/>
              <a:gd name="connsiteX30" fmla="*/ 552043 w 599594"/>
              <a:gd name="connsiteY30" fmla="*/ 520076 h 600769"/>
              <a:gd name="connsiteX31" fmla="*/ 584649 w 599594"/>
              <a:gd name="connsiteY31" fmla="*/ 520076 h 600769"/>
              <a:gd name="connsiteX32" fmla="*/ 599594 w 599594"/>
              <a:gd name="connsiteY32" fmla="*/ 535220 h 600769"/>
              <a:gd name="connsiteX33" fmla="*/ 584649 w 599594"/>
              <a:gd name="connsiteY33" fmla="*/ 550138 h 600769"/>
              <a:gd name="connsiteX34" fmla="*/ 556798 w 599594"/>
              <a:gd name="connsiteY34" fmla="*/ 550138 h 600769"/>
              <a:gd name="connsiteX35" fmla="*/ 499964 w 599594"/>
              <a:gd name="connsiteY35" fmla="*/ 600769 h 600769"/>
              <a:gd name="connsiteX36" fmla="*/ 442676 w 599594"/>
              <a:gd name="connsiteY36" fmla="*/ 543809 h 600769"/>
              <a:gd name="connsiteX37" fmla="*/ 451733 w 599594"/>
              <a:gd name="connsiteY37" fmla="*/ 512843 h 600769"/>
              <a:gd name="connsiteX38" fmla="*/ 430902 w 599594"/>
              <a:gd name="connsiteY38" fmla="*/ 382874 h 600769"/>
              <a:gd name="connsiteX39" fmla="*/ 420033 w 599594"/>
              <a:gd name="connsiteY39" fmla="*/ 366148 h 600769"/>
              <a:gd name="connsiteX40" fmla="*/ 421391 w 599594"/>
              <a:gd name="connsiteY40" fmla="*/ 390559 h 600769"/>
              <a:gd name="connsiteX41" fmla="*/ 210809 w 599594"/>
              <a:gd name="connsiteY41" fmla="*/ 600769 h 600769"/>
              <a:gd name="connsiteX42" fmla="*/ 0 w 599594"/>
              <a:gd name="connsiteY42" fmla="*/ 390559 h 600769"/>
              <a:gd name="connsiteX43" fmla="*/ 68836 w 599594"/>
              <a:gd name="connsiteY43" fmla="*/ 235049 h 600769"/>
              <a:gd name="connsiteX44" fmla="*/ 33512 w 599594"/>
              <a:gd name="connsiteY44" fmla="*/ 17381 h 600769"/>
              <a:gd name="connsiteX45" fmla="*/ 45966 w 599594"/>
              <a:gd name="connsiteY45" fmla="*/ 202 h 600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9594" h="600769">
                <a:moveTo>
                  <a:pt x="210708" y="252881"/>
                </a:moveTo>
                <a:cubicBezTo>
                  <a:pt x="286938" y="252881"/>
                  <a:pt x="348734" y="314519"/>
                  <a:pt x="348734" y="390554"/>
                </a:cubicBezTo>
                <a:cubicBezTo>
                  <a:pt x="348734" y="466589"/>
                  <a:pt x="286938" y="528227"/>
                  <a:pt x="210708" y="528227"/>
                </a:cubicBezTo>
                <a:cubicBezTo>
                  <a:pt x="134478" y="528227"/>
                  <a:pt x="72682" y="466589"/>
                  <a:pt x="72682" y="390554"/>
                </a:cubicBezTo>
                <a:cubicBezTo>
                  <a:pt x="72682" y="314519"/>
                  <a:pt x="134478" y="252881"/>
                  <a:pt x="210708" y="252881"/>
                </a:cubicBezTo>
                <a:close/>
                <a:moveTo>
                  <a:pt x="210809" y="222618"/>
                </a:moveTo>
                <a:cubicBezTo>
                  <a:pt x="117971" y="222618"/>
                  <a:pt x="42569" y="297886"/>
                  <a:pt x="42569" y="390559"/>
                </a:cubicBezTo>
                <a:cubicBezTo>
                  <a:pt x="42569" y="483007"/>
                  <a:pt x="117971" y="558275"/>
                  <a:pt x="210809" y="558275"/>
                </a:cubicBezTo>
                <a:cubicBezTo>
                  <a:pt x="303420" y="558275"/>
                  <a:pt x="378822" y="483007"/>
                  <a:pt x="378822" y="390559"/>
                </a:cubicBezTo>
                <a:cubicBezTo>
                  <a:pt x="378822" y="297886"/>
                  <a:pt x="303420" y="222618"/>
                  <a:pt x="210809" y="222618"/>
                </a:cubicBezTo>
                <a:close/>
                <a:moveTo>
                  <a:pt x="89215" y="171761"/>
                </a:moveTo>
                <a:cubicBezTo>
                  <a:pt x="91705" y="186905"/>
                  <a:pt x="93970" y="201371"/>
                  <a:pt x="96007" y="214255"/>
                </a:cubicBezTo>
                <a:cubicBezTo>
                  <a:pt x="129067" y="192782"/>
                  <a:pt x="168466" y="180124"/>
                  <a:pt x="210809" y="180124"/>
                </a:cubicBezTo>
                <a:cubicBezTo>
                  <a:pt x="259266" y="180124"/>
                  <a:pt x="303873" y="196624"/>
                  <a:pt x="339649" y="224200"/>
                </a:cubicBezTo>
                <a:lnTo>
                  <a:pt x="339649" y="171761"/>
                </a:lnTo>
                <a:lnTo>
                  <a:pt x="226886" y="171761"/>
                </a:lnTo>
                <a:close/>
                <a:moveTo>
                  <a:pt x="45966" y="202"/>
                </a:moveTo>
                <a:cubicBezTo>
                  <a:pt x="54117" y="-1154"/>
                  <a:pt x="62043" y="4497"/>
                  <a:pt x="63401" y="12634"/>
                </a:cubicBezTo>
                <a:cubicBezTo>
                  <a:pt x="65213" y="24840"/>
                  <a:pt x="74949" y="83834"/>
                  <a:pt x="84233" y="141472"/>
                </a:cubicBezTo>
                <a:lnTo>
                  <a:pt x="226886" y="141472"/>
                </a:lnTo>
                <a:lnTo>
                  <a:pt x="354594" y="141472"/>
                </a:lnTo>
                <a:lnTo>
                  <a:pt x="378369" y="141472"/>
                </a:lnTo>
                <a:cubicBezTo>
                  <a:pt x="386521" y="141472"/>
                  <a:pt x="393314" y="148253"/>
                  <a:pt x="393314" y="156616"/>
                </a:cubicBezTo>
                <a:cubicBezTo>
                  <a:pt x="393314" y="164980"/>
                  <a:pt x="386521" y="171761"/>
                  <a:pt x="378369" y="171761"/>
                </a:cubicBezTo>
                <a:lnTo>
                  <a:pt x="369765" y="171761"/>
                </a:lnTo>
                <a:lnTo>
                  <a:pt x="369765" y="252680"/>
                </a:lnTo>
                <a:cubicBezTo>
                  <a:pt x="389691" y="275735"/>
                  <a:pt x="404862" y="302859"/>
                  <a:pt x="413466" y="332921"/>
                </a:cubicBezTo>
                <a:cubicBezTo>
                  <a:pt x="437468" y="335408"/>
                  <a:pt x="456941" y="353716"/>
                  <a:pt x="460791" y="378128"/>
                </a:cubicBezTo>
                <a:lnTo>
                  <a:pt x="478905" y="490692"/>
                </a:lnTo>
                <a:cubicBezTo>
                  <a:pt x="485472" y="487979"/>
                  <a:pt x="492491" y="486623"/>
                  <a:pt x="499964" y="486623"/>
                </a:cubicBezTo>
                <a:cubicBezTo>
                  <a:pt x="523060" y="486623"/>
                  <a:pt x="542986" y="500411"/>
                  <a:pt x="552043" y="520076"/>
                </a:cubicBezTo>
                <a:lnTo>
                  <a:pt x="584649" y="520076"/>
                </a:lnTo>
                <a:cubicBezTo>
                  <a:pt x="592801" y="520076"/>
                  <a:pt x="599594" y="526857"/>
                  <a:pt x="599594" y="535220"/>
                </a:cubicBezTo>
                <a:cubicBezTo>
                  <a:pt x="599594" y="543583"/>
                  <a:pt x="592801" y="550138"/>
                  <a:pt x="584649" y="550138"/>
                </a:cubicBezTo>
                <a:lnTo>
                  <a:pt x="556798" y="550138"/>
                </a:lnTo>
                <a:cubicBezTo>
                  <a:pt x="553628" y="578618"/>
                  <a:pt x="529173" y="600769"/>
                  <a:pt x="499964" y="600769"/>
                </a:cubicBezTo>
                <a:cubicBezTo>
                  <a:pt x="468263" y="600769"/>
                  <a:pt x="442676" y="575228"/>
                  <a:pt x="442676" y="543809"/>
                </a:cubicBezTo>
                <a:cubicBezTo>
                  <a:pt x="442676" y="532281"/>
                  <a:pt x="446073" y="521884"/>
                  <a:pt x="451733" y="512843"/>
                </a:cubicBezTo>
                <a:lnTo>
                  <a:pt x="430902" y="382874"/>
                </a:lnTo>
                <a:cubicBezTo>
                  <a:pt x="429769" y="375641"/>
                  <a:pt x="425694" y="369765"/>
                  <a:pt x="420033" y="366148"/>
                </a:cubicBezTo>
                <a:cubicBezTo>
                  <a:pt x="420939" y="374285"/>
                  <a:pt x="421391" y="382196"/>
                  <a:pt x="421391" y="390559"/>
                </a:cubicBezTo>
                <a:cubicBezTo>
                  <a:pt x="421391" y="506514"/>
                  <a:pt x="326969" y="600769"/>
                  <a:pt x="210809" y="600769"/>
                </a:cubicBezTo>
                <a:cubicBezTo>
                  <a:pt x="94649" y="600769"/>
                  <a:pt x="0" y="506514"/>
                  <a:pt x="0" y="390559"/>
                </a:cubicBezTo>
                <a:cubicBezTo>
                  <a:pt x="0" y="329079"/>
                  <a:pt x="26719" y="273475"/>
                  <a:pt x="68836" y="235049"/>
                </a:cubicBezTo>
                <a:cubicBezTo>
                  <a:pt x="60005" y="179220"/>
                  <a:pt x="41664" y="67786"/>
                  <a:pt x="33512" y="17381"/>
                </a:cubicBezTo>
                <a:cubicBezTo>
                  <a:pt x="32153" y="9244"/>
                  <a:pt x="37814" y="1559"/>
                  <a:pt x="45966" y="202"/>
                </a:cubicBezTo>
                <a:close/>
              </a:path>
            </a:pathLst>
          </a:custGeom>
          <a:solidFill>
            <a:schemeClr val="accent2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4636857" y="2925116"/>
            <a:ext cx="2526125" cy="385982"/>
            <a:chOff x="4636857" y="2925116"/>
            <a:chExt cx="2526125" cy="385982"/>
          </a:xfrm>
        </p:grpSpPr>
        <p:sp>
          <p:nvSpPr>
            <p:cNvPr id="69" name="BackShape"/>
            <p:cNvSpPr/>
            <p:nvPr/>
          </p:nvSpPr>
          <p:spPr>
            <a:xfrm>
              <a:off x="4636857" y="2925116"/>
              <a:ext cx="2526125" cy="38598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5715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70" name="RelativeShape2"/>
            <p:cNvSpPr/>
            <p:nvPr/>
          </p:nvSpPr>
          <p:spPr>
            <a:xfrm>
              <a:off x="4713245" y="2987372"/>
              <a:ext cx="2381257" cy="261472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72" name="ValueShape2"/>
            <p:cNvSpPr/>
            <p:nvPr/>
          </p:nvSpPr>
          <p:spPr>
            <a:xfrm>
              <a:off x="4713245" y="2987372"/>
              <a:ext cx="1309691" cy="26147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</p:grpSp>
      <p:sp>
        <p:nvSpPr>
          <p:cNvPr id="73" name="ValueText2"/>
          <p:cNvSpPr txBox="1"/>
          <p:nvPr/>
        </p:nvSpPr>
        <p:spPr>
          <a:xfrm>
            <a:off x="7291156" y="2962469"/>
            <a:ext cx="666525" cy="311276"/>
          </a:xfrm>
          <a:prstGeom prst="rect">
            <a:avLst/>
          </a:prstGeom>
          <a:noFill/>
        </p:spPr>
        <p:txBody>
          <a:bodyPr wrap="square" rtlCol="0" anchor="ctr" anchorCtr="1">
            <a:prstTxWarp prst="textPlain">
              <a:avLst/>
            </a:prstTxWarp>
            <a:normAutofit fontScale="25000" lnSpcReduction="20000"/>
          </a:bodyPr>
          <a:lstStyle/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6000" b="0" i="0" u="none" strike="noStrike" kern="1200" cap="none" spc="0" normalizeH="0" baseline="0" noProof="0">
                <a:ln>
                  <a:noFill/>
                </a:ln>
                <a:solidFill>
                  <a:srgbClr val="768395"/>
                </a:solidFill>
                <a:effectLst/>
                <a:uLnTx/>
                <a:uFillTx/>
                <a:latin typeface="Impact" panose="020B0806030902050204" pitchFamily="34" charset="0"/>
              </a:rPr>
              <a:t>45%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68395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76" name="IconShape3"/>
          <p:cNvSpPr/>
          <p:nvPr/>
        </p:nvSpPr>
        <p:spPr bwMode="auto">
          <a:xfrm>
            <a:off x="3878074" y="3709974"/>
            <a:ext cx="615120" cy="616327"/>
          </a:xfrm>
          <a:custGeom>
            <a:avLst/>
            <a:gdLst>
              <a:gd name="connsiteX0" fmla="*/ 210708 w 599594"/>
              <a:gd name="connsiteY0" fmla="*/ 252881 h 600769"/>
              <a:gd name="connsiteX1" fmla="*/ 348734 w 599594"/>
              <a:gd name="connsiteY1" fmla="*/ 390554 h 600769"/>
              <a:gd name="connsiteX2" fmla="*/ 210708 w 599594"/>
              <a:gd name="connsiteY2" fmla="*/ 528227 h 600769"/>
              <a:gd name="connsiteX3" fmla="*/ 72682 w 599594"/>
              <a:gd name="connsiteY3" fmla="*/ 390554 h 600769"/>
              <a:gd name="connsiteX4" fmla="*/ 210708 w 599594"/>
              <a:gd name="connsiteY4" fmla="*/ 252881 h 600769"/>
              <a:gd name="connsiteX5" fmla="*/ 210809 w 599594"/>
              <a:gd name="connsiteY5" fmla="*/ 222618 h 600769"/>
              <a:gd name="connsiteX6" fmla="*/ 42569 w 599594"/>
              <a:gd name="connsiteY6" fmla="*/ 390559 h 600769"/>
              <a:gd name="connsiteX7" fmla="*/ 210809 w 599594"/>
              <a:gd name="connsiteY7" fmla="*/ 558275 h 600769"/>
              <a:gd name="connsiteX8" fmla="*/ 378822 w 599594"/>
              <a:gd name="connsiteY8" fmla="*/ 390559 h 600769"/>
              <a:gd name="connsiteX9" fmla="*/ 210809 w 599594"/>
              <a:gd name="connsiteY9" fmla="*/ 222618 h 600769"/>
              <a:gd name="connsiteX10" fmla="*/ 89215 w 599594"/>
              <a:gd name="connsiteY10" fmla="*/ 171761 h 600769"/>
              <a:gd name="connsiteX11" fmla="*/ 96007 w 599594"/>
              <a:gd name="connsiteY11" fmla="*/ 214255 h 600769"/>
              <a:gd name="connsiteX12" fmla="*/ 210809 w 599594"/>
              <a:gd name="connsiteY12" fmla="*/ 180124 h 600769"/>
              <a:gd name="connsiteX13" fmla="*/ 339649 w 599594"/>
              <a:gd name="connsiteY13" fmla="*/ 224200 h 600769"/>
              <a:gd name="connsiteX14" fmla="*/ 339649 w 599594"/>
              <a:gd name="connsiteY14" fmla="*/ 171761 h 600769"/>
              <a:gd name="connsiteX15" fmla="*/ 226886 w 599594"/>
              <a:gd name="connsiteY15" fmla="*/ 171761 h 600769"/>
              <a:gd name="connsiteX16" fmla="*/ 45966 w 599594"/>
              <a:gd name="connsiteY16" fmla="*/ 202 h 600769"/>
              <a:gd name="connsiteX17" fmla="*/ 63401 w 599594"/>
              <a:gd name="connsiteY17" fmla="*/ 12634 h 600769"/>
              <a:gd name="connsiteX18" fmla="*/ 84233 w 599594"/>
              <a:gd name="connsiteY18" fmla="*/ 141472 h 600769"/>
              <a:gd name="connsiteX19" fmla="*/ 226886 w 599594"/>
              <a:gd name="connsiteY19" fmla="*/ 141472 h 600769"/>
              <a:gd name="connsiteX20" fmla="*/ 354594 w 599594"/>
              <a:gd name="connsiteY20" fmla="*/ 141472 h 600769"/>
              <a:gd name="connsiteX21" fmla="*/ 378369 w 599594"/>
              <a:gd name="connsiteY21" fmla="*/ 141472 h 600769"/>
              <a:gd name="connsiteX22" fmla="*/ 393314 w 599594"/>
              <a:gd name="connsiteY22" fmla="*/ 156616 h 600769"/>
              <a:gd name="connsiteX23" fmla="*/ 378369 w 599594"/>
              <a:gd name="connsiteY23" fmla="*/ 171761 h 600769"/>
              <a:gd name="connsiteX24" fmla="*/ 369765 w 599594"/>
              <a:gd name="connsiteY24" fmla="*/ 171761 h 600769"/>
              <a:gd name="connsiteX25" fmla="*/ 369765 w 599594"/>
              <a:gd name="connsiteY25" fmla="*/ 252680 h 600769"/>
              <a:gd name="connsiteX26" fmla="*/ 413466 w 599594"/>
              <a:gd name="connsiteY26" fmla="*/ 332921 h 600769"/>
              <a:gd name="connsiteX27" fmla="*/ 460791 w 599594"/>
              <a:gd name="connsiteY27" fmla="*/ 378128 h 600769"/>
              <a:gd name="connsiteX28" fmla="*/ 478905 w 599594"/>
              <a:gd name="connsiteY28" fmla="*/ 490692 h 600769"/>
              <a:gd name="connsiteX29" fmla="*/ 499964 w 599594"/>
              <a:gd name="connsiteY29" fmla="*/ 486623 h 600769"/>
              <a:gd name="connsiteX30" fmla="*/ 552043 w 599594"/>
              <a:gd name="connsiteY30" fmla="*/ 520076 h 600769"/>
              <a:gd name="connsiteX31" fmla="*/ 584649 w 599594"/>
              <a:gd name="connsiteY31" fmla="*/ 520076 h 600769"/>
              <a:gd name="connsiteX32" fmla="*/ 599594 w 599594"/>
              <a:gd name="connsiteY32" fmla="*/ 535220 h 600769"/>
              <a:gd name="connsiteX33" fmla="*/ 584649 w 599594"/>
              <a:gd name="connsiteY33" fmla="*/ 550138 h 600769"/>
              <a:gd name="connsiteX34" fmla="*/ 556798 w 599594"/>
              <a:gd name="connsiteY34" fmla="*/ 550138 h 600769"/>
              <a:gd name="connsiteX35" fmla="*/ 499964 w 599594"/>
              <a:gd name="connsiteY35" fmla="*/ 600769 h 600769"/>
              <a:gd name="connsiteX36" fmla="*/ 442676 w 599594"/>
              <a:gd name="connsiteY36" fmla="*/ 543809 h 600769"/>
              <a:gd name="connsiteX37" fmla="*/ 451733 w 599594"/>
              <a:gd name="connsiteY37" fmla="*/ 512843 h 600769"/>
              <a:gd name="connsiteX38" fmla="*/ 430902 w 599594"/>
              <a:gd name="connsiteY38" fmla="*/ 382874 h 600769"/>
              <a:gd name="connsiteX39" fmla="*/ 420033 w 599594"/>
              <a:gd name="connsiteY39" fmla="*/ 366148 h 600769"/>
              <a:gd name="connsiteX40" fmla="*/ 421391 w 599594"/>
              <a:gd name="connsiteY40" fmla="*/ 390559 h 600769"/>
              <a:gd name="connsiteX41" fmla="*/ 210809 w 599594"/>
              <a:gd name="connsiteY41" fmla="*/ 600769 h 600769"/>
              <a:gd name="connsiteX42" fmla="*/ 0 w 599594"/>
              <a:gd name="connsiteY42" fmla="*/ 390559 h 600769"/>
              <a:gd name="connsiteX43" fmla="*/ 68836 w 599594"/>
              <a:gd name="connsiteY43" fmla="*/ 235049 h 600769"/>
              <a:gd name="connsiteX44" fmla="*/ 33512 w 599594"/>
              <a:gd name="connsiteY44" fmla="*/ 17381 h 600769"/>
              <a:gd name="connsiteX45" fmla="*/ 45966 w 599594"/>
              <a:gd name="connsiteY45" fmla="*/ 202 h 600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9594" h="600769">
                <a:moveTo>
                  <a:pt x="210708" y="252881"/>
                </a:moveTo>
                <a:cubicBezTo>
                  <a:pt x="286938" y="252881"/>
                  <a:pt x="348734" y="314519"/>
                  <a:pt x="348734" y="390554"/>
                </a:cubicBezTo>
                <a:cubicBezTo>
                  <a:pt x="348734" y="466589"/>
                  <a:pt x="286938" y="528227"/>
                  <a:pt x="210708" y="528227"/>
                </a:cubicBezTo>
                <a:cubicBezTo>
                  <a:pt x="134478" y="528227"/>
                  <a:pt x="72682" y="466589"/>
                  <a:pt x="72682" y="390554"/>
                </a:cubicBezTo>
                <a:cubicBezTo>
                  <a:pt x="72682" y="314519"/>
                  <a:pt x="134478" y="252881"/>
                  <a:pt x="210708" y="252881"/>
                </a:cubicBezTo>
                <a:close/>
                <a:moveTo>
                  <a:pt x="210809" y="222618"/>
                </a:moveTo>
                <a:cubicBezTo>
                  <a:pt x="117971" y="222618"/>
                  <a:pt x="42569" y="297886"/>
                  <a:pt x="42569" y="390559"/>
                </a:cubicBezTo>
                <a:cubicBezTo>
                  <a:pt x="42569" y="483007"/>
                  <a:pt x="117971" y="558275"/>
                  <a:pt x="210809" y="558275"/>
                </a:cubicBezTo>
                <a:cubicBezTo>
                  <a:pt x="303420" y="558275"/>
                  <a:pt x="378822" y="483007"/>
                  <a:pt x="378822" y="390559"/>
                </a:cubicBezTo>
                <a:cubicBezTo>
                  <a:pt x="378822" y="297886"/>
                  <a:pt x="303420" y="222618"/>
                  <a:pt x="210809" y="222618"/>
                </a:cubicBezTo>
                <a:close/>
                <a:moveTo>
                  <a:pt x="89215" y="171761"/>
                </a:moveTo>
                <a:cubicBezTo>
                  <a:pt x="91705" y="186905"/>
                  <a:pt x="93970" y="201371"/>
                  <a:pt x="96007" y="214255"/>
                </a:cubicBezTo>
                <a:cubicBezTo>
                  <a:pt x="129067" y="192782"/>
                  <a:pt x="168466" y="180124"/>
                  <a:pt x="210809" y="180124"/>
                </a:cubicBezTo>
                <a:cubicBezTo>
                  <a:pt x="259266" y="180124"/>
                  <a:pt x="303873" y="196624"/>
                  <a:pt x="339649" y="224200"/>
                </a:cubicBezTo>
                <a:lnTo>
                  <a:pt x="339649" y="171761"/>
                </a:lnTo>
                <a:lnTo>
                  <a:pt x="226886" y="171761"/>
                </a:lnTo>
                <a:close/>
                <a:moveTo>
                  <a:pt x="45966" y="202"/>
                </a:moveTo>
                <a:cubicBezTo>
                  <a:pt x="54117" y="-1154"/>
                  <a:pt x="62043" y="4497"/>
                  <a:pt x="63401" y="12634"/>
                </a:cubicBezTo>
                <a:cubicBezTo>
                  <a:pt x="65213" y="24840"/>
                  <a:pt x="74949" y="83834"/>
                  <a:pt x="84233" y="141472"/>
                </a:cubicBezTo>
                <a:lnTo>
                  <a:pt x="226886" y="141472"/>
                </a:lnTo>
                <a:lnTo>
                  <a:pt x="354594" y="141472"/>
                </a:lnTo>
                <a:lnTo>
                  <a:pt x="378369" y="141472"/>
                </a:lnTo>
                <a:cubicBezTo>
                  <a:pt x="386521" y="141472"/>
                  <a:pt x="393314" y="148253"/>
                  <a:pt x="393314" y="156616"/>
                </a:cubicBezTo>
                <a:cubicBezTo>
                  <a:pt x="393314" y="164980"/>
                  <a:pt x="386521" y="171761"/>
                  <a:pt x="378369" y="171761"/>
                </a:cubicBezTo>
                <a:lnTo>
                  <a:pt x="369765" y="171761"/>
                </a:lnTo>
                <a:lnTo>
                  <a:pt x="369765" y="252680"/>
                </a:lnTo>
                <a:cubicBezTo>
                  <a:pt x="389691" y="275735"/>
                  <a:pt x="404862" y="302859"/>
                  <a:pt x="413466" y="332921"/>
                </a:cubicBezTo>
                <a:cubicBezTo>
                  <a:pt x="437468" y="335408"/>
                  <a:pt x="456941" y="353716"/>
                  <a:pt x="460791" y="378128"/>
                </a:cubicBezTo>
                <a:lnTo>
                  <a:pt x="478905" y="490692"/>
                </a:lnTo>
                <a:cubicBezTo>
                  <a:pt x="485472" y="487979"/>
                  <a:pt x="492491" y="486623"/>
                  <a:pt x="499964" y="486623"/>
                </a:cubicBezTo>
                <a:cubicBezTo>
                  <a:pt x="523060" y="486623"/>
                  <a:pt x="542986" y="500411"/>
                  <a:pt x="552043" y="520076"/>
                </a:cubicBezTo>
                <a:lnTo>
                  <a:pt x="584649" y="520076"/>
                </a:lnTo>
                <a:cubicBezTo>
                  <a:pt x="592801" y="520076"/>
                  <a:pt x="599594" y="526857"/>
                  <a:pt x="599594" y="535220"/>
                </a:cubicBezTo>
                <a:cubicBezTo>
                  <a:pt x="599594" y="543583"/>
                  <a:pt x="592801" y="550138"/>
                  <a:pt x="584649" y="550138"/>
                </a:cubicBezTo>
                <a:lnTo>
                  <a:pt x="556798" y="550138"/>
                </a:lnTo>
                <a:cubicBezTo>
                  <a:pt x="553628" y="578618"/>
                  <a:pt x="529173" y="600769"/>
                  <a:pt x="499964" y="600769"/>
                </a:cubicBezTo>
                <a:cubicBezTo>
                  <a:pt x="468263" y="600769"/>
                  <a:pt x="442676" y="575228"/>
                  <a:pt x="442676" y="543809"/>
                </a:cubicBezTo>
                <a:cubicBezTo>
                  <a:pt x="442676" y="532281"/>
                  <a:pt x="446073" y="521884"/>
                  <a:pt x="451733" y="512843"/>
                </a:cubicBezTo>
                <a:lnTo>
                  <a:pt x="430902" y="382874"/>
                </a:lnTo>
                <a:cubicBezTo>
                  <a:pt x="429769" y="375641"/>
                  <a:pt x="425694" y="369765"/>
                  <a:pt x="420033" y="366148"/>
                </a:cubicBezTo>
                <a:cubicBezTo>
                  <a:pt x="420939" y="374285"/>
                  <a:pt x="421391" y="382196"/>
                  <a:pt x="421391" y="390559"/>
                </a:cubicBezTo>
                <a:cubicBezTo>
                  <a:pt x="421391" y="506514"/>
                  <a:pt x="326969" y="600769"/>
                  <a:pt x="210809" y="600769"/>
                </a:cubicBezTo>
                <a:cubicBezTo>
                  <a:pt x="94649" y="600769"/>
                  <a:pt x="0" y="506514"/>
                  <a:pt x="0" y="390559"/>
                </a:cubicBezTo>
                <a:cubicBezTo>
                  <a:pt x="0" y="329079"/>
                  <a:pt x="26719" y="273475"/>
                  <a:pt x="68836" y="235049"/>
                </a:cubicBezTo>
                <a:cubicBezTo>
                  <a:pt x="60005" y="179220"/>
                  <a:pt x="41664" y="67786"/>
                  <a:pt x="33512" y="17381"/>
                </a:cubicBezTo>
                <a:cubicBezTo>
                  <a:pt x="32153" y="9244"/>
                  <a:pt x="37814" y="1559"/>
                  <a:pt x="45966" y="202"/>
                </a:cubicBezTo>
                <a:close/>
              </a:path>
            </a:pathLst>
          </a:custGeom>
          <a:solidFill>
            <a:schemeClr val="accent3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636857" y="3825146"/>
            <a:ext cx="2526125" cy="385982"/>
            <a:chOff x="4636857" y="3825146"/>
            <a:chExt cx="2526125" cy="385982"/>
          </a:xfrm>
        </p:grpSpPr>
        <p:sp>
          <p:nvSpPr>
            <p:cNvPr id="74" name="BackShape"/>
            <p:cNvSpPr/>
            <p:nvPr/>
          </p:nvSpPr>
          <p:spPr>
            <a:xfrm>
              <a:off x="4636857" y="3825146"/>
              <a:ext cx="2526125" cy="38598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5715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75" name="RelativeShape3"/>
            <p:cNvSpPr/>
            <p:nvPr/>
          </p:nvSpPr>
          <p:spPr>
            <a:xfrm>
              <a:off x="4713245" y="3887401"/>
              <a:ext cx="2381257" cy="261472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77" name="ValueShape3"/>
            <p:cNvSpPr/>
            <p:nvPr/>
          </p:nvSpPr>
          <p:spPr>
            <a:xfrm>
              <a:off x="4713245" y="3887401"/>
              <a:ext cx="1666880" cy="261472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</p:grpSp>
      <p:sp>
        <p:nvSpPr>
          <p:cNvPr id="78" name="ValueText3"/>
          <p:cNvSpPr txBox="1"/>
          <p:nvPr/>
        </p:nvSpPr>
        <p:spPr>
          <a:xfrm>
            <a:off x="7291156" y="3862499"/>
            <a:ext cx="666525" cy="311276"/>
          </a:xfrm>
          <a:prstGeom prst="rect">
            <a:avLst/>
          </a:prstGeom>
          <a:noFill/>
        </p:spPr>
        <p:txBody>
          <a:bodyPr wrap="square" rtlCol="0" anchor="ctr" anchorCtr="1">
            <a:prstTxWarp prst="textPlain">
              <a:avLst/>
            </a:prstTxWarp>
            <a:normAutofit fontScale="25000" lnSpcReduction="20000"/>
          </a:bodyPr>
          <a:lstStyle/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6000" b="0" i="0" u="none" strike="noStrike" kern="1200" cap="none" spc="0" normalizeH="0" baseline="0" noProof="0">
                <a:ln>
                  <a:noFill/>
                </a:ln>
                <a:solidFill>
                  <a:srgbClr val="768395"/>
                </a:solidFill>
                <a:effectLst/>
                <a:uLnTx/>
                <a:uFillTx/>
                <a:latin typeface="Impact" panose="020B0806030902050204" pitchFamily="34" charset="0"/>
              </a:rPr>
              <a:t>55%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68395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81" name="IconShape4"/>
          <p:cNvSpPr/>
          <p:nvPr/>
        </p:nvSpPr>
        <p:spPr bwMode="auto">
          <a:xfrm>
            <a:off x="3878074" y="4610002"/>
            <a:ext cx="615120" cy="616327"/>
          </a:xfrm>
          <a:custGeom>
            <a:avLst/>
            <a:gdLst>
              <a:gd name="connsiteX0" fmla="*/ 210708 w 599594"/>
              <a:gd name="connsiteY0" fmla="*/ 252881 h 600769"/>
              <a:gd name="connsiteX1" fmla="*/ 348734 w 599594"/>
              <a:gd name="connsiteY1" fmla="*/ 390554 h 600769"/>
              <a:gd name="connsiteX2" fmla="*/ 210708 w 599594"/>
              <a:gd name="connsiteY2" fmla="*/ 528227 h 600769"/>
              <a:gd name="connsiteX3" fmla="*/ 72682 w 599594"/>
              <a:gd name="connsiteY3" fmla="*/ 390554 h 600769"/>
              <a:gd name="connsiteX4" fmla="*/ 210708 w 599594"/>
              <a:gd name="connsiteY4" fmla="*/ 252881 h 600769"/>
              <a:gd name="connsiteX5" fmla="*/ 210809 w 599594"/>
              <a:gd name="connsiteY5" fmla="*/ 222618 h 600769"/>
              <a:gd name="connsiteX6" fmla="*/ 42569 w 599594"/>
              <a:gd name="connsiteY6" fmla="*/ 390559 h 600769"/>
              <a:gd name="connsiteX7" fmla="*/ 210809 w 599594"/>
              <a:gd name="connsiteY7" fmla="*/ 558275 h 600769"/>
              <a:gd name="connsiteX8" fmla="*/ 378822 w 599594"/>
              <a:gd name="connsiteY8" fmla="*/ 390559 h 600769"/>
              <a:gd name="connsiteX9" fmla="*/ 210809 w 599594"/>
              <a:gd name="connsiteY9" fmla="*/ 222618 h 600769"/>
              <a:gd name="connsiteX10" fmla="*/ 89215 w 599594"/>
              <a:gd name="connsiteY10" fmla="*/ 171761 h 600769"/>
              <a:gd name="connsiteX11" fmla="*/ 96007 w 599594"/>
              <a:gd name="connsiteY11" fmla="*/ 214255 h 600769"/>
              <a:gd name="connsiteX12" fmla="*/ 210809 w 599594"/>
              <a:gd name="connsiteY12" fmla="*/ 180124 h 600769"/>
              <a:gd name="connsiteX13" fmla="*/ 339649 w 599594"/>
              <a:gd name="connsiteY13" fmla="*/ 224200 h 600769"/>
              <a:gd name="connsiteX14" fmla="*/ 339649 w 599594"/>
              <a:gd name="connsiteY14" fmla="*/ 171761 h 600769"/>
              <a:gd name="connsiteX15" fmla="*/ 226886 w 599594"/>
              <a:gd name="connsiteY15" fmla="*/ 171761 h 600769"/>
              <a:gd name="connsiteX16" fmla="*/ 45966 w 599594"/>
              <a:gd name="connsiteY16" fmla="*/ 202 h 600769"/>
              <a:gd name="connsiteX17" fmla="*/ 63401 w 599594"/>
              <a:gd name="connsiteY17" fmla="*/ 12634 h 600769"/>
              <a:gd name="connsiteX18" fmla="*/ 84233 w 599594"/>
              <a:gd name="connsiteY18" fmla="*/ 141472 h 600769"/>
              <a:gd name="connsiteX19" fmla="*/ 226886 w 599594"/>
              <a:gd name="connsiteY19" fmla="*/ 141472 h 600769"/>
              <a:gd name="connsiteX20" fmla="*/ 354594 w 599594"/>
              <a:gd name="connsiteY20" fmla="*/ 141472 h 600769"/>
              <a:gd name="connsiteX21" fmla="*/ 378369 w 599594"/>
              <a:gd name="connsiteY21" fmla="*/ 141472 h 600769"/>
              <a:gd name="connsiteX22" fmla="*/ 393314 w 599594"/>
              <a:gd name="connsiteY22" fmla="*/ 156616 h 600769"/>
              <a:gd name="connsiteX23" fmla="*/ 378369 w 599594"/>
              <a:gd name="connsiteY23" fmla="*/ 171761 h 600769"/>
              <a:gd name="connsiteX24" fmla="*/ 369765 w 599594"/>
              <a:gd name="connsiteY24" fmla="*/ 171761 h 600769"/>
              <a:gd name="connsiteX25" fmla="*/ 369765 w 599594"/>
              <a:gd name="connsiteY25" fmla="*/ 252680 h 600769"/>
              <a:gd name="connsiteX26" fmla="*/ 413466 w 599594"/>
              <a:gd name="connsiteY26" fmla="*/ 332921 h 600769"/>
              <a:gd name="connsiteX27" fmla="*/ 460791 w 599594"/>
              <a:gd name="connsiteY27" fmla="*/ 378128 h 600769"/>
              <a:gd name="connsiteX28" fmla="*/ 478905 w 599594"/>
              <a:gd name="connsiteY28" fmla="*/ 490692 h 600769"/>
              <a:gd name="connsiteX29" fmla="*/ 499964 w 599594"/>
              <a:gd name="connsiteY29" fmla="*/ 486623 h 600769"/>
              <a:gd name="connsiteX30" fmla="*/ 552043 w 599594"/>
              <a:gd name="connsiteY30" fmla="*/ 520076 h 600769"/>
              <a:gd name="connsiteX31" fmla="*/ 584649 w 599594"/>
              <a:gd name="connsiteY31" fmla="*/ 520076 h 600769"/>
              <a:gd name="connsiteX32" fmla="*/ 599594 w 599594"/>
              <a:gd name="connsiteY32" fmla="*/ 535220 h 600769"/>
              <a:gd name="connsiteX33" fmla="*/ 584649 w 599594"/>
              <a:gd name="connsiteY33" fmla="*/ 550138 h 600769"/>
              <a:gd name="connsiteX34" fmla="*/ 556798 w 599594"/>
              <a:gd name="connsiteY34" fmla="*/ 550138 h 600769"/>
              <a:gd name="connsiteX35" fmla="*/ 499964 w 599594"/>
              <a:gd name="connsiteY35" fmla="*/ 600769 h 600769"/>
              <a:gd name="connsiteX36" fmla="*/ 442676 w 599594"/>
              <a:gd name="connsiteY36" fmla="*/ 543809 h 600769"/>
              <a:gd name="connsiteX37" fmla="*/ 451733 w 599594"/>
              <a:gd name="connsiteY37" fmla="*/ 512843 h 600769"/>
              <a:gd name="connsiteX38" fmla="*/ 430902 w 599594"/>
              <a:gd name="connsiteY38" fmla="*/ 382874 h 600769"/>
              <a:gd name="connsiteX39" fmla="*/ 420033 w 599594"/>
              <a:gd name="connsiteY39" fmla="*/ 366148 h 600769"/>
              <a:gd name="connsiteX40" fmla="*/ 421391 w 599594"/>
              <a:gd name="connsiteY40" fmla="*/ 390559 h 600769"/>
              <a:gd name="connsiteX41" fmla="*/ 210809 w 599594"/>
              <a:gd name="connsiteY41" fmla="*/ 600769 h 600769"/>
              <a:gd name="connsiteX42" fmla="*/ 0 w 599594"/>
              <a:gd name="connsiteY42" fmla="*/ 390559 h 600769"/>
              <a:gd name="connsiteX43" fmla="*/ 68836 w 599594"/>
              <a:gd name="connsiteY43" fmla="*/ 235049 h 600769"/>
              <a:gd name="connsiteX44" fmla="*/ 33512 w 599594"/>
              <a:gd name="connsiteY44" fmla="*/ 17381 h 600769"/>
              <a:gd name="connsiteX45" fmla="*/ 45966 w 599594"/>
              <a:gd name="connsiteY45" fmla="*/ 202 h 600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99594" h="600769">
                <a:moveTo>
                  <a:pt x="210708" y="252881"/>
                </a:moveTo>
                <a:cubicBezTo>
                  <a:pt x="286938" y="252881"/>
                  <a:pt x="348734" y="314519"/>
                  <a:pt x="348734" y="390554"/>
                </a:cubicBezTo>
                <a:cubicBezTo>
                  <a:pt x="348734" y="466589"/>
                  <a:pt x="286938" y="528227"/>
                  <a:pt x="210708" y="528227"/>
                </a:cubicBezTo>
                <a:cubicBezTo>
                  <a:pt x="134478" y="528227"/>
                  <a:pt x="72682" y="466589"/>
                  <a:pt x="72682" y="390554"/>
                </a:cubicBezTo>
                <a:cubicBezTo>
                  <a:pt x="72682" y="314519"/>
                  <a:pt x="134478" y="252881"/>
                  <a:pt x="210708" y="252881"/>
                </a:cubicBezTo>
                <a:close/>
                <a:moveTo>
                  <a:pt x="210809" y="222618"/>
                </a:moveTo>
                <a:cubicBezTo>
                  <a:pt x="117971" y="222618"/>
                  <a:pt x="42569" y="297886"/>
                  <a:pt x="42569" y="390559"/>
                </a:cubicBezTo>
                <a:cubicBezTo>
                  <a:pt x="42569" y="483007"/>
                  <a:pt x="117971" y="558275"/>
                  <a:pt x="210809" y="558275"/>
                </a:cubicBezTo>
                <a:cubicBezTo>
                  <a:pt x="303420" y="558275"/>
                  <a:pt x="378822" y="483007"/>
                  <a:pt x="378822" y="390559"/>
                </a:cubicBezTo>
                <a:cubicBezTo>
                  <a:pt x="378822" y="297886"/>
                  <a:pt x="303420" y="222618"/>
                  <a:pt x="210809" y="222618"/>
                </a:cubicBezTo>
                <a:close/>
                <a:moveTo>
                  <a:pt x="89215" y="171761"/>
                </a:moveTo>
                <a:cubicBezTo>
                  <a:pt x="91705" y="186905"/>
                  <a:pt x="93970" y="201371"/>
                  <a:pt x="96007" y="214255"/>
                </a:cubicBezTo>
                <a:cubicBezTo>
                  <a:pt x="129067" y="192782"/>
                  <a:pt x="168466" y="180124"/>
                  <a:pt x="210809" y="180124"/>
                </a:cubicBezTo>
                <a:cubicBezTo>
                  <a:pt x="259266" y="180124"/>
                  <a:pt x="303873" y="196624"/>
                  <a:pt x="339649" y="224200"/>
                </a:cubicBezTo>
                <a:lnTo>
                  <a:pt x="339649" y="171761"/>
                </a:lnTo>
                <a:lnTo>
                  <a:pt x="226886" y="171761"/>
                </a:lnTo>
                <a:close/>
                <a:moveTo>
                  <a:pt x="45966" y="202"/>
                </a:moveTo>
                <a:cubicBezTo>
                  <a:pt x="54117" y="-1154"/>
                  <a:pt x="62043" y="4497"/>
                  <a:pt x="63401" y="12634"/>
                </a:cubicBezTo>
                <a:cubicBezTo>
                  <a:pt x="65213" y="24840"/>
                  <a:pt x="74949" y="83834"/>
                  <a:pt x="84233" y="141472"/>
                </a:cubicBezTo>
                <a:lnTo>
                  <a:pt x="226886" y="141472"/>
                </a:lnTo>
                <a:lnTo>
                  <a:pt x="354594" y="141472"/>
                </a:lnTo>
                <a:lnTo>
                  <a:pt x="378369" y="141472"/>
                </a:lnTo>
                <a:cubicBezTo>
                  <a:pt x="386521" y="141472"/>
                  <a:pt x="393314" y="148253"/>
                  <a:pt x="393314" y="156616"/>
                </a:cubicBezTo>
                <a:cubicBezTo>
                  <a:pt x="393314" y="164980"/>
                  <a:pt x="386521" y="171761"/>
                  <a:pt x="378369" y="171761"/>
                </a:cubicBezTo>
                <a:lnTo>
                  <a:pt x="369765" y="171761"/>
                </a:lnTo>
                <a:lnTo>
                  <a:pt x="369765" y="252680"/>
                </a:lnTo>
                <a:cubicBezTo>
                  <a:pt x="389691" y="275735"/>
                  <a:pt x="404862" y="302859"/>
                  <a:pt x="413466" y="332921"/>
                </a:cubicBezTo>
                <a:cubicBezTo>
                  <a:pt x="437468" y="335408"/>
                  <a:pt x="456941" y="353716"/>
                  <a:pt x="460791" y="378128"/>
                </a:cubicBezTo>
                <a:lnTo>
                  <a:pt x="478905" y="490692"/>
                </a:lnTo>
                <a:cubicBezTo>
                  <a:pt x="485472" y="487979"/>
                  <a:pt x="492491" y="486623"/>
                  <a:pt x="499964" y="486623"/>
                </a:cubicBezTo>
                <a:cubicBezTo>
                  <a:pt x="523060" y="486623"/>
                  <a:pt x="542986" y="500411"/>
                  <a:pt x="552043" y="520076"/>
                </a:cubicBezTo>
                <a:lnTo>
                  <a:pt x="584649" y="520076"/>
                </a:lnTo>
                <a:cubicBezTo>
                  <a:pt x="592801" y="520076"/>
                  <a:pt x="599594" y="526857"/>
                  <a:pt x="599594" y="535220"/>
                </a:cubicBezTo>
                <a:cubicBezTo>
                  <a:pt x="599594" y="543583"/>
                  <a:pt x="592801" y="550138"/>
                  <a:pt x="584649" y="550138"/>
                </a:cubicBezTo>
                <a:lnTo>
                  <a:pt x="556798" y="550138"/>
                </a:lnTo>
                <a:cubicBezTo>
                  <a:pt x="553628" y="578618"/>
                  <a:pt x="529173" y="600769"/>
                  <a:pt x="499964" y="600769"/>
                </a:cubicBezTo>
                <a:cubicBezTo>
                  <a:pt x="468263" y="600769"/>
                  <a:pt x="442676" y="575228"/>
                  <a:pt x="442676" y="543809"/>
                </a:cubicBezTo>
                <a:cubicBezTo>
                  <a:pt x="442676" y="532281"/>
                  <a:pt x="446073" y="521884"/>
                  <a:pt x="451733" y="512843"/>
                </a:cubicBezTo>
                <a:lnTo>
                  <a:pt x="430902" y="382874"/>
                </a:lnTo>
                <a:cubicBezTo>
                  <a:pt x="429769" y="375641"/>
                  <a:pt x="425694" y="369765"/>
                  <a:pt x="420033" y="366148"/>
                </a:cubicBezTo>
                <a:cubicBezTo>
                  <a:pt x="420939" y="374285"/>
                  <a:pt x="421391" y="382196"/>
                  <a:pt x="421391" y="390559"/>
                </a:cubicBezTo>
                <a:cubicBezTo>
                  <a:pt x="421391" y="506514"/>
                  <a:pt x="326969" y="600769"/>
                  <a:pt x="210809" y="600769"/>
                </a:cubicBezTo>
                <a:cubicBezTo>
                  <a:pt x="94649" y="600769"/>
                  <a:pt x="0" y="506514"/>
                  <a:pt x="0" y="390559"/>
                </a:cubicBezTo>
                <a:cubicBezTo>
                  <a:pt x="0" y="329079"/>
                  <a:pt x="26719" y="273475"/>
                  <a:pt x="68836" y="235049"/>
                </a:cubicBezTo>
                <a:cubicBezTo>
                  <a:pt x="60005" y="179220"/>
                  <a:pt x="41664" y="67786"/>
                  <a:pt x="33512" y="17381"/>
                </a:cubicBezTo>
                <a:cubicBezTo>
                  <a:pt x="32153" y="9244"/>
                  <a:pt x="37814" y="1559"/>
                  <a:pt x="45966" y="202"/>
                </a:cubicBezTo>
                <a:close/>
              </a:path>
            </a:pathLst>
          </a:custGeom>
          <a:solidFill>
            <a:schemeClr val="accent4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4636857" y="4725175"/>
            <a:ext cx="2526125" cy="385982"/>
            <a:chOff x="4636857" y="4725175"/>
            <a:chExt cx="2526125" cy="385982"/>
          </a:xfrm>
        </p:grpSpPr>
        <p:sp>
          <p:nvSpPr>
            <p:cNvPr id="79" name="BackShape"/>
            <p:cNvSpPr/>
            <p:nvPr/>
          </p:nvSpPr>
          <p:spPr>
            <a:xfrm>
              <a:off x="4636857" y="4725175"/>
              <a:ext cx="2526125" cy="38598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5715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80" name="RelativeShape4"/>
            <p:cNvSpPr/>
            <p:nvPr/>
          </p:nvSpPr>
          <p:spPr>
            <a:xfrm>
              <a:off x="4713245" y="4787430"/>
              <a:ext cx="2381257" cy="261472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  <p:sp>
          <p:nvSpPr>
            <p:cNvPr id="82" name="ValueShape4"/>
            <p:cNvSpPr/>
            <p:nvPr/>
          </p:nvSpPr>
          <p:spPr>
            <a:xfrm>
              <a:off x="4713245" y="4787430"/>
              <a:ext cx="1476379" cy="26147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3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</a:endParaRPr>
            </a:p>
          </p:txBody>
        </p:sp>
      </p:grpSp>
      <p:sp>
        <p:nvSpPr>
          <p:cNvPr id="83" name="ValueText4"/>
          <p:cNvSpPr txBox="1"/>
          <p:nvPr/>
        </p:nvSpPr>
        <p:spPr>
          <a:xfrm>
            <a:off x="7291156" y="4762527"/>
            <a:ext cx="666525" cy="311276"/>
          </a:xfrm>
          <a:prstGeom prst="rect">
            <a:avLst/>
          </a:prstGeom>
          <a:noFill/>
        </p:spPr>
        <p:txBody>
          <a:bodyPr wrap="square" rtlCol="0" anchor="ctr" anchorCtr="1">
            <a:prstTxWarp prst="textPlain">
              <a:avLst/>
            </a:prstTxWarp>
            <a:normAutofit fontScale="25000" lnSpcReduction="20000"/>
          </a:bodyPr>
          <a:lstStyle/>
          <a:p>
            <a:pPr marL="0" marR="0" lvl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6000" b="0" i="0" u="none" strike="noStrike" kern="1200" cap="none" spc="0" normalizeH="0" baseline="0" noProof="0">
                <a:ln>
                  <a:noFill/>
                </a:ln>
                <a:solidFill>
                  <a:srgbClr val="768395"/>
                </a:solidFill>
                <a:effectLst/>
                <a:uLnTx/>
                <a:uFillTx/>
                <a:latin typeface="Impact" panose="020B0806030902050204" pitchFamily="34" charset="0"/>
              </a:rPr>
              <a:t>70%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68395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grpSp>
        <p:nvGrpSpPr>
          <p:cNvPr id="84" name="îšḻidè"/>
          <p:cNvGrpSpPr/>
          <p:nvPr/>
        </p:nvGrpSpPr>
        <p:grpSpPr>
          <a:xfrm>
            <a:off x="8829373" y="2272680"/>
            <a:ext cx="2589332" cy="970279"/>
            <a:chOff x="9029905" y="1485484"/>
            <a:chExt cx="2108063" cy="970279"/>
          </a:xfrm>
        </p:grpSpPr>
        <p:sp>
          <p:nvSpPr>
            <p:cNvPr id="85" name="iSļîďè"/>
            <p:cNvSpPr/>
            <p:nvPr/>
          </p:nvSpPr>
          <p:spPr bwMode="auto">
            <a:xfrm>
              <a:off x="9029905" y="1898364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  <a:endParaRPr lang="en-US" altLang="zh-CN" sz="1100" dirty="0"/>
            </a:p>
          </p:txBody>
        </p:sp>
        <p:sp>
          <p:nvSpPr>
            <p:cNvPr id="86" name="iS1iḍé"/>
            <p:cNvSpPr txBox="1"/>
            <p:nvPr/>
          </p:nvSpPr>
          <p:spPr bwMode="auto">
            <a:xfrm>
              <a:off x="9029905" y="1485484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360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000" b="1" dirty="0"/>
                <a:t>添加内容</a:t>
              </a:r>
              <a:endParaRPr lang="en-US" altLang="zh-CN" sz="2000" b="1" dirty="0"/>
            </a:p>
          </p:txBody>
        </p:sp>
      </p:grpSp>
      <p:grpSp>
        <p:nvGrpSpPr>
          <p:cNvPr id="87" name="íŝḷîdè"/>
          <p:cNvGrpSpPr/>
          <p:nvPr/>
        </p:nvGrpSpPr>
        <p:grpSpPr>
          <a:xfrm>
            <a:off x="8929568" y="3934538"/>
            <a:ext cx="2589332" cy="970279"/>
            <a:chOff x="9029905" y="1485484"/>
            <a:chExt cx="2108063" cy="970279"/>
          </a:xfrm>
        </p:grpSpPr>
        <p:sp>
          <p:nvSpPr>
            <p:cNvPr id="88" name="iṩļídè"/>
            <p:cNvSpPr/>
            <p:nvPr/>
          </p:nvSpPr>
          <p:spPr bwMode="auto">
            <a:xfrm>
              <a:off x="9029905" y="1898364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  <a:endParaRPr lang="en-US" altLang="zh-CN" sz="1100" dirty="0"/>
            </a:p>
          </p:txBody>
        </p:sp>
        <p:sp>
          <p:nvSpPr>
            <p:cNvPr id="89" name="îSḻïḑé"/>
            <p:cNvSpPr txBox="1"/>
            <p:nvPr/>
          </p:nvSpPr>
          <p:spPr bwMode="auto">
            <a:xfrm>
              <a:off x="9029905" y="1485484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360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/>
                <a:t>添加内容</a:t>
              </a:r>
              <a:endParaRPr lang="en-US" altLang="zh-CN" sz="2000" b="1" dirty="0"/>
            </a:p>
          </p:txBody>
        </p:sp>
      </p:grp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8337" y="1071231"/>
            <a:ext cx="8531575" cy="471008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8090" y="3267743"/>
            <a:ext cx="6674644" cy="327877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56723"/>
            <a:ext cx="6871317" cy="32993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853" y="295887"/>
            <a:ext cx="9158674" cy="4320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0">
        <p14:prism isInverted="1" isContent="1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500"/>
                            </p:stCondLst>
                            <p:childTnLst>
                              <p:par>
                                <p:cTn id="6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000"/>
                            </p:stCondLst>
                            <p:childTnLst>
                              <p:par>
                                <p:cTn id="7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000"/>
                            </p:stCondLst>
                            <p:childTnLst>
                              <p:par>
                                <p:cTn id="8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500"/>
                            </p:stCondLst>
                            <p:childTnLst>
                              <p:par>
                                <p:cTn id="8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9000"/>
                            </p:stCondLst>
                            <p:childTnLst>
                              <p:par>
                                <p:cTn id="9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7" grpId="0"/>
      <p:bldP spid="58" grpId="0"/>
      <p:bldP spid="66" grpId="0" animBg="1"/>
      <p:bldP spid="68" grpId="0"/>
      <p:bldP spid="71" grpId="0" animBg="1"/>
      <p:bldP spid="73" grpId="0"/>
      <p:bldP spid="76" grpId="0" animBg="1"/>
      <p:bldP spid="78" grpId="0"/>
      <p:bldP spid="81" grpId="0" animBg="1"/>
      <p:bldP spid="8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457327" y="1270907"/>
            <a:ext cx="5419185" cy="895350"/>
          </a:xfrm>
        </p:spPr>
        <p:txBody>
          <a:bodyPr/>
          <a:lstStyle/>
          <a:p>
            <a:r>
              <a:rPr lang="zh-CN" altLang="en-US">
                <a:solidFill>
                  <a:schemeClr val="accent1"/>
                </a:solidFill>
              </a:rPr>
              <a:t>问题</a:t>
            </a:r>
            <a:r>
              <a:rPr lang="zh-CN" altLang="en-US" dirty="0">
                <a:solidFill>
                  <a:schemeClr val="accent1"/>
                </a:solidFill>
              </a:rPr>
              <a:t>及解决方案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31446" y="1813471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00589B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/0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00589B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1901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1190171" y="3077028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Tm="0"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遇到的问题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855676" y="1602514"/>
            <a:ext cx="1031007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项目流程问题：</a:t>
            </a:r>
            <a:endParaRPr lang="en-US" altLang="zh-CN" dirty="0"/>
          </a:p>
          <a:p>
            <a:r>
              <a:rPr lang="en-US" altLang="zh-CN" dirty="0"/>
              <a:t>  1.</a:t>
            </a:r>
            <a:r>
              <a:rPr lang="zh-CN" altLang="en-US" dirty="0"/>
              <a:t>项目刚开始分工不是很明确导致了效率可能有些低下</a:t>
            </a:r>
            <a:endParaRPr lang="en-US" altLang="zh-CN" dirty="0"/>
          </a:p>
          <a:p>
            <a:r>
              <a:rPr lang="en-US" altLang="zh-CN" dirty="0"/>
              <a:t>  2.</a:t>
            </a:r>
            <a:endParaRPr lang="en-US" altLang="zh-CN" dirty="0"/>
          </a:p>
          <a:p>
            <a:r>
              <a:rPr lang="zh-CN" altLang="en-US" dirty="0"/>
              <a:t>模型设计问题：</a:t>
            </a:r>
            <a:endParaRPr lang="en-US" altLang="zh-CN" dirty="0"/>
          </a:p>
          <a:p>
            <a:r>
              <a:rPr lang="en-US" altLang="zh-CN" dirty="0"/>
              <a:t>  1.</a:t>
            </a:r>
            <a:r>
              <a:rPr lang="zh-CN" altLang="en-US" dirty="0"/>
              <a:t>刚开始接触到这个项目一头雾水未知的领域让我们很迷茫</a:t>
            </a:r>
            <a:endParaRPr lang="en-US" altLang="zh-CN" dirty="0"/>
          </a:p>
          <a:p>
            <a:r>
              <a:rPr lang="en-US" altLang="zh-CN" dirty="0"/>
              <a:t>  2.</a:t>
            </a:r>
            <a:r>
              <a:rPr lang="zh-CN" altLang="en-US" dirty="0"/>
              <a:t>老师指明了用</a:t>
            </a:r>
            <a:r>
              <a:rPr lang="en-US" altLang="zh-CN" dirty="0"/>
              <a:t>GAN</a:t>
            </a:r>
            <a:r>
              <a:rPr lang="zh-CN" altLang="en-US" dirty="0"/>
              <a:t>但是</a:t>
            </a:r>
            <a:r>
              <a:rPr lang="en-US" altLang="zh-CN" dirty="0"/>
              <a:t>GAN</a:t>
            </a:r>
            <a:r>
              <a:rPr lang="zh-CN" altLang="en-US" dirty="0"/>
              <a:t>对于我们是一个未知的模型</a:t>
            </a:r>
            <a:endParaRPr lang="en-US" altLang="zh-CN" dirty="0"/>
          </a:p>
          <a:p>
            <a:r>
              <a:rPr lang="en-US" altLang="zh-CN" dirty="0"/>
              <a:t>  3. </a:t>
            </a:r>
            <a:r>
              <a:rPr lang="zh-CN" altLang="en-US" dirty="0"/>
              <a:t>我们虽然学写了</a:t>
            </a:r>
            <a:r>
              <a:rPr lang="en-US" altLang="zh-CN" dirty="0"/>
              <a:t>GAN</a:t>
            </a:r>
            <a:r>
              <a:rPr lang="zh-CN" altLang="en-US" dirty="0"/>
              <a:t>但不知道生成器和判别器里面到底写一些什么，出现了很多问题例如损失不平衡，生成不明确</a:t>
            </a:r>
            <a:endParaRPr lang="en-US" altLang="zh-CN" dirty="0"/>
          </a:p>
          <a:p>
            <a:r>
              <a:rPr lang="en-US" altLang="zh-CN" dirty="0"/>
              <a:t>  4. </a:t>
            </a:r>
            <a:r>
              <a:rPr lang="zh-CN" altLang="en-US" dirty="0"/>
              <a:t>因为模型效果不好认为调参能使输出编号，我们陷入了一些目的不明确或者多变量一同改变的调参过程</a:t>
            </a:r>
            <a:endParaRPr lang="en-US" altLang="zh-CN" dirty="0"/>
          </a:p>
          <a:p>
            <a:r>
              <a:rPr lang="en-US" altLang="zh-CN" dirty="0"/>
              <a:t>  5. </a:t>
            </a:r>
            <a:r>
              <a:rPr lang="zh-CN" altLang="en-US" dirty="0"/>
              <a:t>发现调参并不能改变模型的问题</a:t>
            </a:r>
            <a:endParaRPr lang="en-US" altLang="zh-CN" dirty="0"/>
          </a:p>
          <a:p>
            <a:r>
              <a:rPr lang="en-US" altLang="zh-CN" dirty="0"/>
              <a:t>  6. </a:t>
            </a:r>
            <a:r>
              <a:rPr lang="zh-CN" altLang="en-US" dirty="0"/>
              <a:t>自身硬件设备不足没有办法进行大规模训练</a:t>
            </a:r>
            <a:endParaRPr lang="en-US" altLang="zh-CN" dirty="0"/>
          </a:p>
        </p:txBody>
      </p:sp>
      <p:sp>
        <p:nvSpPr>
          <p:cNvPr id="9" name="文本框 8"/>
          <p:cNvSpPr txBox="1"/>
          <p:nvPr/>
        </p:nvSpPr>
        <p:spPr>
          <a:xfrm>
            <a:off x="855675" y="1233182"/>
            <a:ext cx="10310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整合大家的意见我们总结了如下问题和解决方案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0"/>
    </mc:Choice>
    <mc:Fallback>
      <p:transition spd="slow" advTm="0"/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ags/tag5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9711f2f4-c1f0-4241-987b-20a317be1793"/>
  <p:tag name="ISPRING_PRESENTATION_TITLE" val="PowerPoint 演示文稿"/>
  <p:tag name="ISPRING_FIRST_PUBLISH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589B"/>
      </a:accent1>
      <a:accent2>
        <a:srgbClr val="004C86"/>
      </a:accent2>
      <a:accent3>
        <a:srgbClr val="5594C7"/>
      </a:accent3>
      <a:accent4>
        <a:srgbClr val="7EA6CA"/>
      </a:accent4>
      <a:accent5>
        <a:srgbClr val="FAE9EC"/>
      </a:accent5>
      <a:accent6>
        <a:srgbClr val="B2C8E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5">
            <a:lumMod val="100000"/>
          </a:schemeClr>
        </a:solidFill>
        <a:ln w="25400" cap="flat">
          <a:solidFill>
            <a:schemeClr val="tx1">
              <a:alpha val="0"/>
            </a:schemeClr>
          </a:solidFill>
          <a:prstDash val="solid"/>
          <a:miter lim="800000"/>
          <a:headEnd type="none" w="med" len="med"/>
          <a:tailEnd type="none" w="med" len="med"/>
        </a:ln>
      </a:spPr>
      <a:bodyPr anchor="ctr"/>
      <a:lstStyle>
        <a:defPPr algn="ctr"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589B"/>
    </a:accent1>
    <a:accent2>
      <a:srgbClr val="004C86"/>
    </a:accent2>
    <a:accent3>
      <a:srgbClr val="5594C7"/>
    </a:accent3>
    <a:accent4>
      <a:srgbClr val="7EA6CA"/>
    </a:accent4>
    <a:accent5>
      <a:srgbClr val="FAE9EC"/>
    </a:accent5>
    <a:accent6>
      <a:srgbClr val="B2C8E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589B"/>
    </a:accent1>
    <a:accent2>
      <a:srgbClr val="004C86"/>
    </a:accent2>
    <a:accent3>
      <a:srgbClr val="5594C7"/>
    </a:accent3>
    <a:accent4>
      <a:srgbClr val="7EA6CA"/>
    </a:accent4>
    <a:accent5>
      <a:srgbClr val="FAE9EC"/>
    </a:accent5>
    <a:accent6>
      <a:srgbClr val="B2C8E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589B"/>
    </a:accent1>
    <a:accent2>
      <a:srgbClr val="004C86"/>
    </a:accent2>
    <a:accent3>
      <a:srgbClr val="5594C7"/>
    </a:accent3>
    <a:accent4>
      <a:srgbClr val="7EA6CA"/>
    </a:accent4>
    <a:accent5>
      <a:srgbClr val="FAE9EC"/>
    </a:accent5>
    <a:accent6>
      <a:srgbClr val="B2C8E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589B"/>
    </a:accent1>
    <a:accent2>
      <a:srgbClr val="004C86"/>
    </a:accent2>
    <a:accent3>
      <a:srgbClr val="5594C7"/>
    </a:accent3>
    <a:accent4>
      <a:srgbClr val="7EA6CA"/>
    </a:accent4>
    <a:accent5>
      <a:srgbClr val="FAE9EC"/>
    </a:accent5>
    <a:accent6>
      <a:srgbClr val="B2C8E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548</Words>
  <Application>WPS 演示</Application>
  <PresentationFormat>宽屏</PresentationFormat>
  <Paragraphs>160</Paragraphs>
  <Slides>18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8</vt:i4>
      </vt:variant>
    </vt:vector>
  </HeadingPairs>
  <TitlesOfParts>
    <vt:vector size="30" baseType="lpstr">
      <vt:lpstr>Arial</vt:lpstr>
      <vt:lpstr>宋体</vt:lpstr>
      <vt:lpstr>Wingdings</vt:lpstr>
      <vt:lpstr>微软雅黑</vt:lpstr>
      <vt:lpstr>Impact</vt:lpstr>
      <vt:lpstr>Arial</vt:lpstr>
      <vt:lpstr>Arial Black</vt:lpstr>
      <vt:lpstr>Arial Unicode MS</vt:lpstr>
      <vt:lpstr>Calibri</vt:lpstr>
      <vt:lpstr>主题5</vt:lpstr>
      <vt:lpstr>TCLayout.ActiveDocument.1</vt:lpstr>
      <vt:lpstr>TCLayout.ActiveDocument.1</vt:lpstr>
      <vt:lpstr>PowerPoint 演示文稿</vt:lpstr>
      <vt:lpstr>PowerPoint 演示文稿</vt:lpstr>
      <vt:lpstr>工作分配情况</vt:lpstr>
      <vt:lpstr>01/工作分配情况</vt:lpstr>
      <vt:lpstr>工作完成情况</vt:lpstr>
      <vt:lpstr>PowerPoint 演示文稿</vt:lpstr>
      <vt:lpstr>PowerPoint 演示文稿</vt:lpstr>
      <vt:lpstr>问题及解决方案</vt:lpstr>
      <vt:lpstr>遇到的问题</vt:lpstr>
      <vt:lpstr>PowerPoint 演示文稿</vt:lpstr>
      <vt:lpstr>解决方案</vt:lpstr>
      <vt:lpstr>Pix2Pix:</vt:lpstr>
      <vt:lpstr>效果展示</vt:lpstr>
      <vt:lpstr>PowerPoint 演示文稿</vt:lpstr>
      <vt:lpstr>PowerPoint 演示文稿</vt:lpstr>
      <vt:lpstr>PowerPoint 演示文稿</vt:lpstr>
      <vt:lpstr>现在我们展示一些上色接近真实的图片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</cp:lastModifiedBy>
  <cp:revision>222</cp:revision>
  <cp:lastPrinted>2018-09-13T16:00:00Z</cp:lastPrinted>
  <dcterms:created xsi:type="dcterms:W3CDTF">2018-09-13T16:00:00Z</dcterms:created>
  <dcterms:modified xsi:type="dcterms:W3CDTF">2020-03-14T01:4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39</vt:lpwstr>
  </property>
</Properties>
</file>